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6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7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8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  <p:sldMasterId id="2147483696" r:id="rId3"/>
    <p:sldMasterId id="2147483739" r:id="rId4"/>
    <p:sldMasterId id="2147483758" r:id="rId5"/>
    <p:sldMasterId id="2147483777" r:id="rId6"/>
    <p:sldMasterId id="2147483808" r:id="rId7"/>
    <p:sldMasterId id="2147483827" r:id="rId8"/>
    <p:sldMasterId id="2147483847" r:id="rId9"/>
    <p:sldMasterId id="2147483863" r:id="rId10"/>
  </p:sldMasterIdLst>
  <p:notesMasterIdLst>
    <p:notesMasterId r:id="rId21"/>
  </p:notesMasterIdLst>
  <p:sldIdLst>
    <p:sldId id="257" r:id="rId11"/>
    <p:sldId id="258" r:id="rId12"/>
    <p:sldId id="273" r:id="rId13"/>
    <p:sldId id="276" r:id="rId14"/>
    <p:sldId id="277" r:id="rId15"/>
    <p:sldId id="259" r:id="rId16"/>
    <p:sldId id="281" r:id="rId17"/>
    <p:sldId id="279" r:id="rId18"/>
    <p:sldId id="280" r:id="rId19"/>
    <p:sldId id="275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05" autoAdjust="0"/>
    <p:restoredTop sz="90562" autoAdjust="0"/>
  </p:normalViewPr>
  <p:slideViewPr>
    <p:cSldViewPr snapToGrid="0">
      <p:cViewPr varScale="1">
        <p:scale>
          <a:sx n="62" d="100"/>
          <a:sy n="62" d="100"/>
        </p:scale>
        <p:origin x="90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nguyen\Dropbox\IMO\IMO\4.%20Design%20Teams\Primary%20Care\COVID-19\Recovery\Quality%20and%20Safety\covid-19-dashboard-3-21-2021%20SN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nguyen\Dropbox\IMO\IMO\4.%20Design%20Teams\Primary%20Care\COVID-19\Recovery\Quality%20and%20Safety\covid-19-dashboard-3-21-2021%20S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nguyen\Dropbox\IMO\IMO\4.%20Design%20Teams\Primary%20Care\COVID-19\Recovery\Quality%20and%20Safety\covid-19-dashboard-3-21-2021%20SN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baseline="0" dirty="0" smtClean="0">
                <a:effectLst/>
              </a:rPr>
              <a:t>BILHPC Visits by Type of Visit</a:t>
            </a:r>
          </a:p>
          <a:p>
            <a:pPr>
              <a:defRPr sz="1400"/>
            </a:pPr>
            <a:r>
              <a:rPr lang="en-US" sz="1400" b="1" i="0" baseline="0" dirty="0" smtClean="0">
                <a:effectLst/>
              </a:rPr>
              <a:t>March 2020 – February 2021</a:t>
            </a:r>
            <a:endParaRPr lang="en-US" sz="14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-Person Visit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mmm\-yyyy</c:formatCode>
                <c:ptCount val="12"/>
                <c:pt idx="0">
                  <c:v>43891</c:v>
                </c:pt>
                <c:pt idx="1">
                  <c:v>43922</c:v>
                </c:pt>
                <c:pt idx="2">
                  <c:v>43952</c:v>
                </c:pt>
                <c:pt idx="3">
                  <c:v>43983</c:v>
                </c:pt>
                <c:pt idx="4">
                  <c:v>44013</c:v>
                </c:pt>
                <c:pt idx="5">
                  <c:v>44044</c:v>
                </c:pt>
                <c:pt idx="6">
                  <c:v>44075</c:v>
                </c:pt>
                <c:pt idx="7">
                  <c:v>44105</c:v>
                </c:pt>
                <c:pt idx="8">
                  <c:v>44136</c:v>
                </c:pt>
                <c:pt idx="9">
                  <c:v>44166</c:v>
                </c:pt>
                <c:pt idx="10">
                  <c:v>44197</c:v>
                </c:pt>
                <c:pt idx="11" formatCode="mmm\-yy">
                  <c:v>44228</c:v>
                </c:pt>
              </c:numCache>
            </c:numRef>
          </c:cat>
          <c:val>
            <c:numRef>
              <c:f>Sheet1!$B$2:$B$13</c:f>
              <c:numCache>
                <c:formatCode>#,##0</c:formatCode>
                <c:ptCount val="12"/>
                <c:pt idx="0">
                  <c:v>38512</c:v>
                </c:pt>
                <c:pt idx="1">
                  <c:v>1653</c:v>
                </c:pt>
                <c:pt idx="2">
                  <c:v>2453</c:v>
                </c:pt>
                <c:pt idx="3">
                  <c:v>13103</c:v>
                </c:pt>
                <c:pt idx="4">
                  <c:v>36157</c:v>
                </c:pt>
                <c:pt idx="5">
                  <c:v>44440</c:v>
                </c:pt>
                <c:pt idx="6">
                  <c:v>49688</c:v>
                </c:pt>
                <c:pt idx="7">
                  <c:v>50820</c:v>
                </c:pt>
                <c:pt idx="8">
                  <c:v>45158</c:v>
                </c:pt>
                <c:pt idx="9">
                  <c:v>40415</c:v>
                </c:pt>
                <c:pt idx="10">
                  <c:v>41783</c:v>
                </c:pt>
                <c:pt idx="11">
                  <c:v>406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49-4E7B-B16E-65BB702DE1F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lehealth Visits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mmm\-yyyy</c:formatCode>
                <c:ptCount val="12"/>
                <c:pt idx="0">
                  <c:v>43891</c:v>
                </c:pt>
                <c:pt idx="1">
                  <c:v>43922</c:v>
                </c:pt>
                <c:pt idx="2">
                  <c:v>43952</c:v>
                </c:pt>
                <c:pt idx="3">
                  <c:v>43983</c:v>
                </c:pt>
                <c:pt idx="4">
                  <c:v>44013</c:v>
                </c:pt>
                <c:pt idx="5">
                  <c:v>44044</c:v>
                </c:pt>
                <c:pt idx="6">
                  <c:v>44075</c:v>
                </c:pt>
                <c:pt idx="7">
                  <c:v>44105</c:v>
                </c:pt>
                <c:pt idx="8">
                  <c:v>44136</c:v>
                </c:pt>
                <c:pt idx="9">
                  <c:v>44166</c:v>
                </c:pt>
                <c:pt idx="10">
                  <c:v>44197</c:v>
                </c:pt>
                <c:pt idx="11" formatCode="mmm\-yy">
                  <c:v>44228</c:v>
                </c:pt>
              </c:numCache>
            </c:numRef>
          </c:cat>
          <c:val>
            <c:numRef>
              <c:f>Sheet1!$C$2:$C$13</c:f>
              <c:numCache>
                <c:formatCode>#,##0</c:formatCode>
                <c:ptCount val="12"/>
                <c:pt idx="0">
                  <c:v>21495</c:v>
                </c:pt>
                <c:pt idx="1">
                  <c:v>55618</c:v>
                </c:pt>
                <c:pt idx="2">
                  <c:v>56026</c:v>
                </c:pt>
                <c:pt idx="3">
                  <c:v>52406</c:v>
                </c:pt>
                <c:pt idx="4">
                  <c:v>32987</c:v>
                </c:pt>
                <c:pt idx="5">
                  <c:v>24974</c:v>
                </c:pt>
                <c:pt idx="6">
                  <c:v>23336</c:v>
                </c:pt>
                <c:pt idx="7">
                  <c:v>23303</c:v>
                </c:pt>
                <c:pt idx="8">
                  <c:v>24375</c:v>
                </c:pt>
                <c:pt idx="9">
                  <c:v>29804</c:v>
                </c:pt>
                <c:pt idx="10">
                  <c:v>27399</c:v>
                </c:pt>
                <c:pt idx="11">
                  <c:v>22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49-4E7B-B16E-65BB702DE1F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mmm\-yyyy</c:formatCode>
                <c:ptCount val="12"/>
                <c:pt idx="0">
                  <c:v>43891</c:v>
                </c:pt>
                <c:pt idx="1">
                  <c:v>43922</c:v>
                </c:pt>
                <c:pt idx="2">
                  <c:v>43952</c:v>
                </c:pt>
                <c:pt idx="3">
                  <c:v>43983</c:v>
                </c:pt>
                <c:pt idx="4">
                  <c:v>44013</c:v>
                </c:pt>
                <c:pt idx="5">
                  <c:v>44044</c:v>
                </c:pt>
                <c:pt idx="6">
                  <c:v>44075</c:v>
                </c:pt>
                <c:pt idx="7">
                  <c:v>44105</c:v>
                </c:pt>
                <c:pt idx="8">
                  <c:v>44136</c:v>
                </c:pt>
                <c:pt idx="9">
                  <c:v>44166</c:v>
                </c:pt>
                <c:pt idx="10">
                  <c:v>44197</c:v>
                </c:pt>
                <c:pt idx="11" formatCode="mmm\-yy">
                  <c:v>44228</c:v>
                </c:pt>
              </c:numCache>
            </c:numRef>
          </c:cat>
          <c:val>
            <c:numRef>
              <c:f>Sheet1!$D$2:$D$13</c:f>
              <c:numCache>
                <c:formatCode>#,##0</c:formatCode>
                <c:ptCount val="12"/>
                <c:pt idx="0">
                  <c:v>60007</c:v>
                </c:pt>
                <c:pt idx="1">
                  <c:v>57271</c:v>
                </c:pt>
                <c:pt idx="2">
                  <c:v>58479</c:v>
                </c:pt>
                <c:pt idx="3">
                  <c:v>65509</c:v>
                </c:pt>
                <c:pt idx="4">
                  <c:v>69144</c:v>
                </c:pt>
                <c:pt idx="5">
                  <c:v>69414</c:v>
                </c:pt>
                <c:pt idx="6">
                  <c:v>73024</c:v>
                </c:pt>
                <c:pt idx="7">
                  <c:v>74123</c:v>
                </c:pt>
                <c:pt idx="8">
                  <c:v>69533</c:v>
                </c:pt>
                <c:pt idx="9">
                  <c:v>70219</c:v>
                </c:pt>
                <c:pt idx="10">
                  <c:v>69182</c:v>
                </c:pt>
                <c:pt idx="11">
                  <c:v>63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49-4E7B-B16E-65BB702DE1F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5371312"/>
        <c:axId val="15383792"/>
      </c:barChart>
      <c:dateAx>
        <c:axId val="15371312"/>
        <c:scaling>
          <c:orientation val="minMax"/>
        </c:scaling>
        <c:delete val="0"/>
        <c:axPos val="b"/>
        <c:numFmt formatCode="mmm\-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83792"/>
        <c:crosses val="autoZero"/>
        <c:auto val="1"/>
        <c:lblOffset val="100"/>
        <c:baseTimeUnit val="months"/>
      </c:dateAx>
      <c:valAx>
        <c:axId val="15383792"/>
        <c:scaling>
          <c:orientation val="minMax"/>
          <c:max val="80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7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tal Cases</a:t>
            </a:r>
          </a:p>
          <a:p>
            <a:pPr>
              <a:defRPr/>
            </a:pPr>
            <a:r>
              <a:rPr lang="en-US" dirty="0"/>
              <a:t>N = 606,377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RaceEthnicityLast2Weeks!$C$1069</c:f>
              <c:strCache>
                <c:ptCount val="1"/>
                <c:pt idx="0">
                  <c:v>Total Cas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CF-4A66-AD1C-C687B1ACAF5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CF-4A66-AD1C-C687B1ACAF5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CF-4A66-AD1C-C687B1ACAF5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CF-4A66-AD1C-C687B1ACAF5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CF-4A66-AD1C-C687B1ACAF5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CF-4A66-AD1C-C687B1ACAF5B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19CF-4A66-AD1C-C687B1ACAF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RaceEthnicityLast2Weeks!$B$1070:$B$1075</c:f>
              <c:strCache>
                <c:ptCount val="6"/>
                <c:pt idx="0">
                  <c:v>White, non-Hispanic</c:v>
                </c:pt>
                <c:pt idx="1">
                  <c:v>Black or African American, non-Hispanic</c:v>
                </c:pt>
                <c:pt idx="2">
                  <c:v>Hispanic</c:v>
                </c:pt>
                <c:pt idx="3">
                  <c:v>Asian, non-Hispanic</c:v>
                </c:pt>
                <c:pt idx="4">
                  <c:v>Other race, non-Hispanic</c:v>
                </c:pt>
                <c:pt idx="5">
                  <c:v>Unknown, missing, or refused</c:v>
                </c:pt>
              </c:strCache>
            </c:strRef>
          </c:cat>
          <c:val>
            <c:numRef>
              <c:f>RaceEthnicityLast2Weeks!$C$1070:$C$1075</c:f>
              <c:numCache>
                <c:formatCode>General</c:formatCode>
                <c:ptCount val="6"/>
                <c:pt idx="0">
                  <c:v>229456</c:v>
                </c:pt>
                <c:pt idx="1">
                  <c:v>36581</c:v>
                </c:pt>
                <c:pt idx="2">
                  <c:v>130171</c:v>
                </c:pt>
                <c:pt idx="3">
                  <c:v>16905</c:v>
                </c:pt>
                <c:pt idx="4">
                  <c:v>51000</c:v>
                </c:pt>
                <c:pt idx="5">
                  <c:v>142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CF-4A66-AD1C-C687B1ACAF5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tal Cases Ever Hospitalized</a:t>
            </a:r>
          </a:p>
          <a:p>
            <a:pPr>
              <a:defRPr/>
            </a:pPr>
            <a:r>
              <a:rPr lang="en-US" dirty="0"/>
              <a:t>N = 68,431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RaceEthnicityLast2Weeks!$D$1069</c:f>
              <c:strCache>
                <c:ptCount val="1"/>
                <c:pt idx="0">
                  <c:v>Total Cases Ever Hospitalized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375-4F98-ABF1-922355C0C01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375-4F98-ABF1-922355C0C01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375-4F98-ABF1-922355C0C01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375-4F98-ABF1-922355C0C01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375-4F98-ABF1-922355C0C01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375-4F98-ABF1-922355C0C013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0375-4F98-ABF1-922355C0C0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RaceEthnicityLast2Weeks!$B$1070:$B$1075</c:f>
              <c:strCache>
                <c:ptCount val="6"/>
                <c:pt idx="0">
                  <c:v>White, non-Hispanic</c:v>
                </c:pt>
                <c:pt idx="1">
                  <c:v>Black or African American, non-Hispanic</c:v>
                </c:pt>
                <c:pt idx="2">
                  <c:v>Hispanic</c:v>
                </c:pt>
                <c:pt idx="3">
                  <c:v>Asian, non-Hispanic</c:v>
                </c:pt>
                <c:pt idx="4">
                  <c:v>Other race, non-Hispanic</c:v>
                </c:pt>
                <c:pt idx="5">
                  <c:v>Unknown, missing, or refused</c:v>
                </c:pt>
              </c:strCache>
            </c:strRef>
          </c:cat>
          <c:val>
            <c:numRef>
              <c:f>RaceEthnicityLast2Weeks!$D$1070:$D$1075</c:f>
              <c:numCache>
                <c:formatCode>General</c:formatCode>
                <c:ptCount val="6"/>
                <c:pt idx="0">
                  <c:v>10666</c:v>
                </c:pt>
                <c:pt idx="1">
                  <c:v>1949</c:v>
                </c:pt>
                <c:pt idx="2">
                  <c:v>3106</c:v>
                </c:pt>
                <c:pt idx="3">
                  <c:v>720</c:v>
                </c:pt>
                <c:pt idx="4">
                  <c:v>2058</c:v>
                </c:pt>
                <c:pt idx="5">
                  <c:v>1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375-4F98-ABF1-922355C0C01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tal Deaths</a:t>
            </a:r>
          </a:p>
          <a:p>
            <a:pPr>
              <a:defRPr/>
            </a:pPr>
            <a:r>
              <a:rPr lang="en-US" dirty="0"/>
              <a:t>N = 65,596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8285319727856617"/>
          <c:y val="0.20094978119380463"/>
          <c:w val="0.41587141620523099"/>
          <c:h val="0.70369747646487246"/>
        </c:manualLayout>
      </c:layout>
      <c:pieChart>
        <c:varyColors val="1"/>
        <c:ser>
          <c:idx val="0"/>
          <c:order val="0"/>
          <c:tx>
            <c:strRef>
              <c:f>RaceEthnicityLast2Weeks!$E$1069</c:f>
              <c:strCache>
                <c:ptCount val="1"/>
                <c:pt idx="0">
                  <c:v>Total Death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0F5-4DDA-A98E-13CB43404A0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0F5-4DDA-A98E-13CB43404A0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0F5-4DDA-A98E-13CB43404A0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0F5-4DDA-A98E-13CB43404A0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0F5-4DDA-A98E-13CB43404A0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0F5-4DDA-A98E-13CB43404A0D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30F5-4DDA-A98E-13CB43404A0D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30F5-4DDA-A98E-13CB43404A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RaceEthnicityLast2Weeks!$B$1070:$B$1075</c:f>
              <c:strCache>
                <c:ptCount val="6"/>
                <c:pt idx="0">
                  <c:v>White, non-Hispanic</c:v>
                </c:pt>
                <c:pt idx="1">
                  <c:v>Black or African American, non-Hispanic</c:v>
                </c:pt>
                <c:pt idx="2">
                  <c:v>Hispanic</c:v>
                </c:pt>
                <c:pt idx="3">
                  <c:v>Asian, non-Hispanic</c:v>
                </c:pt>
                <c:pt idx="4">
                  <c:v>Other race, non-Hispanic</c:v>
                </c:pt>
                <c:pt idx="5">
                  <c:v>Unknown, missing, or refused</c:v>
                </c:pt>
              </c:strCache>
            </c:strRef>
          </c:cat>
          <c:val>
            <c:numRef>
              <c:f>RaceEthnicityLast2Weeks!$E$1070:$E$1075</c:f>
              <c:numCache>
                <c:formatCode>General</c:formatCode>
                <c:ptCount val="6"/>
                <c:pt idx="0">
                  <c:v>12339</c:v>
                </c:pt>
                <c:pt idx="1">
                  <c:v>1098</c:v>
                </c:pt>
                <c:pt idx="2">
                  <c:v>1349</c:v>
                </c:pt>
                <c:pt idx="3">
                  <c:v>424</c:v>
                </c:pt>
                <c:pt idx="4">
                  <c:v>1453</c:v>
                </c:pt>
                <c:pt idx="5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0F5-4DDA-A98E-13CB43404A0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9C8B14-A040-44D1-9337-0D0D36B7928D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1F3F691-0C32-4B79-810B-D56FBDC32514}">
      <dgm:prSet phldrT="[Text]"/>
      <dgm:spPr/>
      <dgm:t>
        <a:bodyPr/>
        <a:lstStyle/>
        <a:p>
          <a:r>
            <a:rPr lang="en-US" dirty="0" smtClean="0"/>
            <a:t>Focus on highly impacted communities</a:t>
          </a:r>
          <a:endParaRPr lang="en-US" dirty="0"/>
        </a:p>
      </dgm:t>
    </dgm:pt>
    <dgm:pt modelId="{67B2E4C8-4BAF-4D99-A733-CBAE9E06433F}" type="parTrans" cxnId="{507CEC5B-305D-44F7-8D2D-216C689302FD}">
      <dgm:prSet/>
      <dgm:spPr/>
      <dgm:t>
        <a:bodyPr/>
        <a:lstStyle/>
        <a:p>
          <a:endParaRPr lang="en-US"/>
        </a:p>
      </dgm:t>
    </dgm:pt>
    <dgm:pt modelId="{B5FF7985-07CD-4F9D-A6E1-D0D7CBFBAABE}" type="sibTrans" cxnId="{507CEC5B-305D-44F7-8D2D-216C689302FD}">
      <dgm:prSet/>
      <dgm:spPr/>
      <dgm:t>
        <a:bodyPr/>
        <a:lstStyle/>
        <a:p>
          <a:endParaRPr lang="en-US"/>
        </a:p>
      </dgm:t>
    </dgm:pt>
    <dgm:pt modelId="{4B9BB34A-E9DF-4A90-856E-B2346A619F38}">
      <dgm:prSet phldrT="[Text]"/>
      <dgm:spPr/>
      <dgm:t>
        <a:bodyPr/>
        <a:lstStyle/>
        <a:p>
          <a:r>
            <a:rPr lang="en-US" dirty="0" smtClean="0"/>
            <a:t>Considered measures such as cumulative incidence of COVID</a:t>
          </a:r>
          <a:endParaRPr lang="en-US" dirty="0"/>
        </a:p>
      </dgm:t>
    </dgm:pt>
    <dgm:pt modelId="{4A521972-A9B1-48FF-8CF0-D45EA1D79C36}" type="parTrans" cxnId="{98ACDCBC-05A6-4FB8-8301-42D4765D5951}">
      <dgm:prSet/>
      <dgm:spPr/>
      <dgm:t>
        <a:bodyPr/>
        <a:lstStyle/>
        <a:p>
          <a:endParaRPr lang="en-US"/>
        </a:p>
      </dgm:t>
    </dgm:pt>
    <dgm:pt modelId="{297CBBA7-BB9E-4A43-BD9D-174E818495A4}" type="sibTrans" cxnId="{98ACDCBC-05A6-4FB8-8301-42D4765D5951}">
      <dgm:prSet/>
      <dgm:spPr/>
      <dgm:t>
        <a:bodyPr/>
        <a:lstStyle/>
        <a:p>
          <a:endParaRPr lang="en-US"/>
        </a:p>
      </dgm:t>
    </dgm:pt>
    <dgm:pt modelId="{149E934A-C7BA-4B4F-8BFE-D5310A41431B}">
      <dgm:prSet phldrT="[Text]"/>
      <dgm:spPr/>
      <dgm:t>
        <a:bodyPr/>
        <a:lstStyle/>
        <a:p>
          <a:r>
            <a:rPr lang="en-US" dirty="0" smtClean="0"/>
            <a:t>Continuous improvement approach to addressing language barriers and vaccine hesitancy</a:t>
          </a:r>
          <a:endParaRPr lang="en-US" dirty="0"/>
        </a:p>
      </dgm:t>
    </dgm:pt>
    <dgm:pt modelId="{E93D1405-371A-499F-927C-DA0A53725723}" type="parTrans" cxnId="{47D622D8-06B1-423C-9742-E9B7F149E764}">
      <dgm:prSet/>
      <dgm:spPr/>
      <dgm:t>
        <a:bodyPr/>
        <a:lstStyle/>
        <a:p>
          <a:endParaRPr lang="en-US"/>
        </a:p>
      </dgm:t>
    </dgm:pt>
    <dgm:pt modelId="{6AC3DA57-D2E1-40BF-8759-47C4D6E3CDEC}" type="sibTrans" cxnId="{47D622D8-06B1-423C-9742-E9B7F149E764}">
      <dgm:prSet/>
      <dgm:spPr/>
      <dgm:t>
        <a:bodyPr/>
        <a:lstStyle/>
        <a:p>
          <a:endParaRPr lang="en-US"/>
        </a:p>
      </dgm:t>
    </dgm:pt>
    <dgm:pt modelId="{E18109DD-88FB-4258-8985-B7170519AC15}" type="pres">
      <dgm:prSet presAssocID="{539C8B14-A040-44D1-9337-0D0D36B7928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68E7429F-E018-4B35-9C79-8179269A85E3}" type="pres">
      <dgm:prSet presAssocID="{539C8B14-A040-44D1-9337-0D0D36B7928D}" presName="Name1" presStyleCnt="0"/>
      <dgm:spPr/>
    </dgm:pt>
    <dgm:pt modelId="{97B50777-D3BE-4B5A-BBDF-6386AD8C2C3B}" type="pres">
      <dgm:prSet presAssocID="{539C8B14-A040-44D1-9337-0D0D36B7928D}" presName="cycle" presStyleCnt="0"/>
      <dgm:spPr/>
    </dgm:pt>
    <dgm:pt modelId="{C4666D4D-974C-41A4-BB6F-5147D9EB6D73}" type="pres">
      <dgm:prSet presAssocID="{539C8B14-A040-44D1-9337-0D0D36B7928D}" presName="srcNode" presStyleLbl="node1" presStyleIdx="0" presStyleCnt="3"/>
      <dgm:spPr/>
    </dgm:pt>
    <dgm:pt modelId="{DFCADA68-B485-4AE4-8FEA-22760737148D}" type="pres">
      <dgm:prSet presAssocID="{539C8B14-A040-44D1-9337-0D0D36B7928D}" presName="conn" presStyleLbl="parChTrans1D2" presStyleIdx="0" presStyleCnt="1"/>
      <dgm:spPr/>
      <dgm:t>
        <a:bodyPr/>
        <a:lstStyle/>
        <a:p>
          <a:endParaRPr lang="en-US"/>
        </a:p>
      </dgm:t>
    </dgm:pt>
    <dgm:pt modelId="{F168E1E5-39BE-4A66-BA72-948364143EF7}" type="pres">
      <dgm:prSet presAssocID="{539C8B14-A040-44D1-9337-0D0D36B7928D}" presName="extraNode" presStyleLbl="node1" presStyleIdx="0" presStyleCnt="3"/>
      <dgm:spPr/>
    </dgm:pt>
    <dgm:pt modelId="{BEB5C860-CC4F-4D54-9CA9-410ADFBCFE65}" type="pres">
      <dgm:prSet presAssocID="{539C8B14-A040-44D1-9337-0D0D36B7928D}" presName="dstNode" presStyleLbl="node1" presStyleIdx="0" presStyleCnt="3"/>
      <dgm:spPr/>
    </dgm:pt>
    <dgm:pt modelId="{51258421-D442-4CA4-933E-D9C42080135E}" type="pres">
      <dgm:prSet presAssocID="{01F3F691-0C32-4B79-810B-D56FBDC32514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58C190-3053-4CC8-A9C1-4292EBFFE7B7}" type="pres">
      <dgm:prSet presAssocID="{01F3F691-0C32-4B79-810B-D56FBDC32514}" presName="accent_1" presStyleCnt="0"/>
      <dgm:spPr/>
    </dgm:pt>
    <dgm:pt modelId="{48A0D0B8-E786-4412-A7ED-54083E8A4C87}" type="pres">
      <dgm:prSet presAssocID="{01F3F691-0C32-4B79-810B-D56FBDC32514}" presName="accentRepeatNode" presStyleLbl="solidFgAcc1" presStyleIdx="0" presStyleCnt="3"/>
      <dgm:spPr/>
    </dgm:pt>
    <dgm:pt modelId="{9941AE6C-DE4F-4D05-8D79-206680BF1D1B}" type="pres">
      <dgm:prSet presAssocID="{4B9BB34A-E9DF-4A90-856E-B2346A619F38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B7C8F6-07E9-49A6-B2BA-1387B3625722}" type="pres">
      <dgm:prSet presAssocID="{4B9BB34A-E9DF-4A90-856E-B2346A619F38}" presName="accent_2" presStyleCnt="0"/>
      <dgm:spPr/>
    </dgm:pt>
    <dgm:pt modelId="{1F3CCA08-2F85-4554-A58C-2C29A4C61FF3}" type="pres">
      <dgm:prSet presAssocID="{4B9BB34A-E9DF-4A90-856E-B2346A619F38}" presName="accentRepeatNode" presStyleLbl="solidFgAcc1" presStyleIdx="1" presStyleCnt="3"/>
      <dgm:spPr/>
    </dgm:pt>
    <dgm:pt modelId="{D6E5AF5B-C487-4100-AA3A-3741B1D2AB4D}" type="pres">
      <dgm:prSet presAssocID="{149E934A-C7BA-4B4F-8BFE-D5310A41431B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2B3765-CB22-4641-80C8-8ECA6E74A4A9}" type="pres">
      <dgm:prSet presAssocID="{149E934A-C7BA-4B4F-8BFE-D5310A41431B}" presName="accent_3" presStyleCnt="0"/>
      <dgm:spPr/>
    </dgm:pt>
    <dgm:pt modelId="{1B5EFB85-4373-4729-A262-588466A425EF}" type="pres">
      <dgm:prSet presAssocID="{149E934A-C7BA-4B4F-8BFE-D5310A41431B}" presName="accentRepeatNode" presStyleLbl="solidFgAcc1" presStyleIdx="2" presStyleCnt="3"/>
      <dgm:spPr/>
    </dgm:pt>
  </dgm:ptLst>
  <dgm:cxnLst>
    <dgm:cxn modelId="{47D622D8-06B1-423C-9742-E9B7F149E764}" srcId="{539C8B14-A040-44D1-9337-0D0D36B7928D}" destId="{149E934A-C7BA-4B4F-8BFE-D5310A41431B}" srcOrd="2" destOrd="0" parTransId="{E93D1405-371A-499F-927C-DA0A53725723}" sibTransId="{6AC3DA57-D2E1-40BF-8759-47C4D6E3CDEC}"/>
    <dgm:cxn modelId="{EAD894C5-DD09-4C1A-9FFB-AC3655EEFF21}" type="presOf" srcId="{B5FF7985-07CD-4F9D-A6E1-D0D7CBFBAABE}" destId="{DFCADA68-B485-4AE4-8FEA-22760737148D}" srcOrd="0" destOrd="0" presId="urn:microsoft.com/office/officeart/2008/layout/VerticalCurvedList"/>
    <dgm:cxn modelId="{4FF9F6E6-5768-4658-8424-1CAA35C00FCD}" type="presOf" srcId="{149E934A-C7BA-4B4F-8BFE-D5310A41431B}" destId="{D6E5AF5B-C487-4100-AA3A-3741B1D2AB4D}" srcOrd="0" destOrd="0" presId="urn:microsoft.com/office/officeart/2008/layout/VerticalCurvedList"/>
    <dgm:cxn modelId="{679AFA7A-0318-47BF-9BFA-F92982874C55}" type="presOf" srcId="{4B9BB34A-E9DF-4A90-856E-B2346A619F38}" destId="{9941AE6C-DE4F-4D05-8D79-206680BF1D1B}" srcOrd="0" destOrd="0" presId="urn:microsoft.com/office/officeart/2008/layout/VerticalCurvedList"/>
    <dgm:cxn modelId="{A2595491-DF07-433D-9207-0D31299E74D6}" type="presOf" srcId="{01F3F691-0C32-4B79-810B-D56FBDC32514}" destId="{51258421-D442-4CA4-933E-D9C42080135E}" srcOrd="0" destOrd="0" presId="urn:microsoft.com/office/officeart/2008/layout/VerticalCurvedList"/>
    <dgm:cxn modelId="{507CEC5B-305D-44F7-8D2D-216C689302FD}" srcId="{539C8B14-A040-44D1-9337-0D0D36B7928D}" destId="{01F3F691-0C32-4B79-810B-D56FBDC32514}" srcOrd="0" destOrd="0" parTransId="{67B2E4C8-4BAF-4D99-A733-CBAE9E06433F}" sibTransId="{B5FF7985-07CD-4F9D-A6E1-D0D7CBFBAABE}"/>
    <dgm:cxn modelId="{13371F75-A488-4242-B3D8-2473BBE20992}" type="presOf" srcId="{539C8B14-A040-44D1-9337-0D0D36B7928D}" destId="{E18109DD-88FB-4258-8985-B7170519AC15}" srcOrd="0" destOrd="0" presId="urn:microsoft.com/office/officeart/2008/layout/VerticalCurvedList"/>
    <dgm:cxn modelId="{98ACDCBC-05A6-4FB8-8301-42D4765D5951}" srcId="{539C8B14-A040-44D1-9337-0D0D36B7928D}" destId="{4B9BB34A-E9DF-4A90-856E-B2346A619F38}" srcOrd="1" destOrd="0" parTransId="{4A521972-A9B1-48FF-8CF0-D45EA1D79C36}" sibTransId="{297CBBA7-BB9E-4A43-BD9D-174E818495A4}"/>
    <dgm:cxn modelId="{D06568A9-E3B4-4DBB-97B0-1E6FE07DF86B}" type="presParOf" srcId="{E18109DD-88FB-4258-8985-B7170519AC15}" destId="{68E7429F-E018-4B35-9C79-8179269A85E3}" srcOrd="0" destOrd="0" presId="urn:microsoft.com/office/officeart/2008/layout/VerticalCurvedList"/>
    <dgm:cxn modelId="{F27DF7E0-12E3-4753-997D-661D43546ED6}" type="presParOf" srcId="{68E7429F-E018-4B35-9C79-8179269A85E3}" destId="{97B50777-D3BE-4B5A-BBDF-6386AD8C2C3B}" srcOrd="0" destOrd="0" presId="urn:microsoft.com/office/officeart/2008/layout/VerticalCurvedList"/>
    <dgm:cxn modelId="{75FC0883-F3E0-4F1F-8E14-B707AE48D949}" type="presParOf" srcId="{97B50777-D3BE-4B5A-BBDF-6386AD8C2C3B}" destId="{C4666D4D-974C-41A4-BB6F-5147D9EB6D73}" srcOrd="0" destOrd="0" presId="urn:microsoft.com/office/officeart/2008/layout/VerticalCurvedList"/>
    <dgm:cxn modelId="{385CFCEA-B8BD-494B-98FD-B328071F3E13}" type="presParOf" srcId="{97B50777-D3BE-4B5A-BBDF-6386AD8C2C3B}" destId="{DFCADA68-B485-4AE4-8FEA-22760737148D}" srcOrd="1" destOrd="0" presId="urn:microsoft.com/office/officeart/2008/layout/VerticalCurvedList"/>
    <dgm:cxn modelId="{33DCC11E-C689-44C0-912B-583EE73B1C78}" type="presParOf" srcId="{97B50777-D3BE-4B5A-BBDF-6386AD8C2C3B}" destId="{F168E1E5-39BE-4A66-BA72-948364143EF7}" srcOrd="2" destOrd="0" presId="urn:microsoft.com/office/officeart/2008/layout/VerticalCurvedList"/>
    <dgm:cxn modelId="{3442800D-CC83-43CF-AC4F-B6AD89DF8BF5}" type="presParOf" srcId="{97B50777-D3BE-4B5A-BBDF-6386AD8C2C3B}" destId="{BEB5C860-CC4F-4D54-9CA9-410ADFBCFE65}" srcOrd="3" destOrd="0" presId="urn:microsoft.com/office/officeart/2008/layout/VerticalCurvedList"/>
    <dgm:cxn modelId="{9958DC94-1B4F-4DF8-961D-E7C7EF8B6D03}" type="presParOf" srcId="{68E7429F-E018-4B35-9C79-8179269A85E3}" destId="{51258421-D442-4CA4-933E-D9C42080135E}" srcOrd="1" destOrd="0" presId="urn:microsoft.com/office/officeart/2008/layout/VerticalCurvedList"/>
    <dgm:cxn modelId="{08F8E217-52BF-4426-ACE8-A9E4C4E95AD6}" type="presParOf" srcId="{68E7429F-E018-4B35-9C79-8179269A85E3}" destId="{A958C190-3053-4CC8-A9C1-4292EBFFE7B7}" srcOrd="2" destOrd="0" presId="urn:microsoft.com/office/officeart/2008/layout/VerticalCurvedList"/>
    <dgm:cxn modelId="{777E4F17-12C5-4DAB-A2BD-30444185E5D8}" type="presParOf" srcId="{A958C190-3053-4CC8-A9C1-4292EBFFE7B7}" destId="{48A0D0B8-E786-4412-A7ED-54083E8A4C87}" srcOrd="0" destOrd="0" presId="urn:microsoft.com/office/officeart/2008/layout/VerticalCurvedList"/>
    <dgm:cxn modelId="{FFD81611-1D2C-4009-82D4-F0EF1E3E395B}" type="presParOf" srcId="{68E7429F-E018-4B35-9C79-8179269A85E3}" destId="{9941AE6C-DE4F-4D05-8D79-206680BF1D1B}" srcOrd="3" destOrd="0" presId="urn:microsoft.com/office/officeart/2008/layout/VerticalCurvedList"/>
    <dgm:cxn modelId="{CC92D56E-55E7-48E5-84AC-7AAD6F5BEF57}" type="presParOf" srcId="{68E7429F-E018-4B35-9C79-8179269A85E3}" destId="{75B7C8F6-07E9-49A6-B2BA-1387B3625722}" srcOrd="4" destOrd="0" presId="urn:microsoft.com/office/officeart/2008/layout/VerticalCurvedList"/>
    <dgm:cxn modelId="{77409954-DCAA-4CF7-B4F6-1B53CF9E092B}" type="presParOf" srcId="{75B7C8F6-07E9-49A6-B2BA-1387B3625722}" destId="{1F3CCA08-2F85-4554-A58C-2C29A4C61FF3}" srcOrd="0" destOrd="0" presId="urn:microsoft.com/office/officeart/2008/layout/VerticalCurvedList"/>
    <dgm:cxn modelId="{3336C9C4-46BD-4135-BBFA-2B9CB3B47229}" type="presParOf" srcId="{68E7429F-E018-4B35-9C79-8179269A85E3}" destId="{D6E5AF5B-C487-4100-AA3A-3741B1D2AB4D}" srcOrd="5" destOrd="0" presId="urn:microsoft.com/office/officeart/2008/layout/VerticalCurvedList"/>
    <dgm:cxn modelId="{C3746F1D-FEBC-45F3-98B5-68C9201EA50D}" type="presParOf" srcId="{68E7429F-E018-4B35-9C79-8179269A85E3}" destId="{412B3765-CB22-4641-80C8-8ECA6E74A4A9}" srcOrd="6" destOrd="0" presId="urn:microsoft.com/office/officeart/2008/layout/VerticalCurvedList"/>
    <dgm:cxn modelId="{84FC8616-0503-4C77-AF76-1CE8E0E6B5AE}" type="presParOf" srcId="{412B3765-CB22-4641-80C8-8ECA6E74A4A9}" destId="{1B5EFB85-4373-4729-A262-588466A425E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CADA68-B485-4AE4-8FEA-22760737148D}">
      <dsp:nvSpPr>
        <dsp:cNvPr id="0" name=""/>
        <dsp:cNvSpPr/>
      </dsp:nvSpPr>
      <dsp:spPr>
        <a:xfrm>
          <a:off x="-5574157" y="-853493"/>
          <a:ext cx="6637761" cy="6637761"/>
        </a:xfrm>
        <a:prstGeom prst="blockArc">
          <a:avLst>
            <a:gd name="adj1" fmla="val 18900000"/>
            <a:gd name="adj2" fmla="val 2700000"/>
            <a:gd name="adj3" fmla="val 325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258421-D442-4CA4-933E-D9C42080135E}">
      <dsp:nvSpPr>
        <dsp:cNvPr id="0" name=""/>
        <dsp:cNvSpPr/>
      </dsp:nvSpPr>
      <dsp:spPr>
        <a:xfrm>
          <a:off x="684391" y="493077"/>
          <a:ext cx="6820689" cy="98615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761" tIns="55880" rIns="55880" bIns="5588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Focus on highly impacted communities</a:t>
          </a:r>
          <a:endParaRPr lang="en-US" sz="2200" kern="1200" dirty="0"/>
        </a:p>
      </dsp:txBody>
      <dsp:txXfrm>
        <a:off x="684391" y="493077"/>
        <a:ext cx="6820689" cy="986155"/>
      </dsp:txXfrm>
    </dsp:sp>
    <dsp:sp modelId="{48A0D0B8-E786-4412-A7ED-54083E8A4C87}">
      <dsp:nvSpPr>
        <dsp:cNvPr id="0" name=""/>
        <dsp:cNvSpPr/>
      </dsp:nvSpPr>
      <dsp:spPr>
        <a:xfrm>
          <a:off x="68044" y="369808"/>
          <a:ext cx="1232693" cy="12326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41AE6C-DE4F-4D05-8D79-206680BF1D1B}">
      <dsp:nvSpPr>
        <dsp:cNvPr id="0" name=""/>
        <dsp:cNvSpPr/>
      </dsp:nvSpPr>
      <dsp:spPr>
        <a:xfrm>
          <a:off x="1042858" y="1972310"/>
          <a:ext cx="6462222" cy="98615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761" tIns="55880" rIns="55880" bIns="5588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onsidered measures such as cumulative incidence of COVID</a:t>
          </a:r>
          <a:endParaRPr lang="en-US" sz="2200" kern="1200" dirty="0"/>
        </a:p>
      </dsp:txBody>
      <dsp:txXfrm>
        <a:off x="1042858" y="1972310"/>
        <a:ext cx="6462222" cy="986155"/>
      </dsp:txXfrm>
    </dsp:sp>
    <dsp:sp modelId="{1F3CCA08-2F85-4554-A58C-2C29A4C61FF3}">
      <dsp:nvSpPr>
        <dsp:cNvPr id="0" name=""/>
        <dsp:cNvSpPr/>
      </dsp:nvSpPr>
      <dsp:spPr>
        <a:xfrm>
          <a:off x="426512" y="1849040"/>
          <a:ext cx="1232693" cy="12326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E5AF5B-C487-4100-AA3A-3741B1D2AB4D}">
      <dsp:nvSpPr>
        <dsp:cNvPr id="0" name=""/>
        <dsp:cNvSpPr/>
      </dsp:nvSpPr>
      <dsp:spPr>
        <a:xfrm>
          <a:off x="684391" y="3451542"/>
          <a:ext cx="6820689" cy="986155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761" tIns="55880" rIns="55880" bIns="5588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ontinuous improvement approach to addressing language barriers and vaccine hesitancy</a:t>
          </a:r>
          <a:endParaRPr lang="en-US" sz="2200" kern="1200" dirty="0"/>
        </a:p>
      </dsp:txBody>
      <dsp:txXfrm>
        <a:off x="684391" y="3451542"/>
        <a:ext cx="6820689" cy="986155"/>
      </dsp:txXfrm>
    </dsp:sp>
    <dsp:sp modelId="{1B5EFB85-4373-4729-A262-588466A425EF}">
      <dsp:nvSpPr>
        <dsp:cNvPr id="0" name=""/>
        <dsp:cNvSpPr/>
      </dsp:nvSpPr>
      <dsp:spPr>
        <a:xfrm>
          <a:off x="68044" y="3328273"/>
          <a:ext cx="1232693" cy="12326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BBA2A5-B004-4CCC-B69F-6834FB3C58D4}" type="datetimeFigureOut">
              <a:rPr lang="en-US" smtClean="0"/>
              <a:t>4/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3E42F-7DD6-4D21-8CD6-098FA4F640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836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0FE7EE-41BE-2646-AD78-BFE02926F1F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24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0FE7EE-41BE-2646-AD78-BFE02926F1F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0318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solation &amp; recovery site</a:t>
            </a:r>
          </a:p>
          <a:p>
            <a:r>
              <a:rPr lang="en-US" dirty="0" smtClean="0"/>
              <a:t>142,000 (cases unknown),</a:t>
            </a:r>
            <a:r>
              <a:rPr lang="en-US" baseline="0" dirty="0" smtClean="0"/>
              <a:t> </a:t>
            </a:r>
            <a:r>
              <a:rPr lang="en-US" dirty="0" smtClean="0"/>
              <a:t>1,600 (hospitalizations</a:t>
            </a:r>
            <a:r>
              <a:rPr lang="en-US" baseline="0" dirty="0" smtClean="0"/>
              <a:t> unknown)</a:t>
            </a:r>
            <a:r>
              <a:rPr lang="en-US" dirty="0" smtClean="0"/>
              <a:t>, 69 (69 unknown) </a:t>
            </a:r>
            <a:r>
              <a:rPr lang="en-US" dirty="0" smtClean="0">
                <a:sym typeface="Wingdings" panose="05000000000000000000" pitchFamily="2" charset="2"/>
              </a:rPr>
              <a:t> likely an issue with race/ethnicity</a:t>
            </a:r>
            <a:r>
              <a:rPr lang="en-US" baseline="0" dirty="0" smtClean="0">
                <a:sym typeface="Wingdings" panose="05000000000000000000" pitchFamily="2" charset="2"/>
              </a:rPr>
              <a:t> data capture (e.g., not required in order to get COVID testing but typically is standard workflow for hospital admission and even more likely recorded for death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42462C-AC7E-4BA2-A278-7DABAC0CB0D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2517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3E42F-7DD6-4D21-8CD6-098FA4F64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0927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pn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.png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8D97D04-000F-4C69-910B-E567126C3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72065" y="5210169"/>
            <a:ext cx="3742952" cy="12161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1C9276-31F6-4C7E-B446-A363A8A5B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589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B530FFDC-955C-4366-B08F-12C9D409DC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6583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34800"/>
            <a:ext cx="11052740" cy="2158432"/>
          </a:xfrm>
        </p:spPr>
        <p:txBody>
          <a:bodyPr numCol="2" spcCol="288000"/>
          <a:lstStyle>
            <a:lvl1pPr>
              <a:spcAft>
                <a:spcPts val="1000"/>
              </a:spcAft>
              <a:defRPr sz="1400" b="0"/>
            </a:lvl1pPr>
            <a:lvl2pPr>
              <a:spcAft>
                <a:spcPts val="1000"/>
              </a:spcAft>
              <a:defRPr sz="1400" b="0"/>
            </a:lvl2pPr>
            <a:lvl3pPr>
              <a:spcAft>
                <a:spcPts val="1000"/>
              </a:spcAft>
              <a:defRPr sz="1400" b="0"/>
            </a:lvl3pPr>
            <a:lvl4pPr>
              <a:spcAft>
                <a:spcPts val="1000"/>
              </a:spcAft>
              <a:defRPr sz="1400" b="0"/>
            </a:lvl4pPr>
            <a:lvl5pPr>
              <a:spcAft>
                <a:spcPts val="1000"/>
              </a:spcAft>
              <a:defRPr sz="14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DF982DF-366D-43A8-895B-BE8FEC06843F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34D1F61-0F4B-4F89-8921-A32DEDB172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1D7B394-5C8B-448E-8211-388536ABC3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37018E68-DE00-4F0B-9185-8286938F9E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70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34800"/>
            <a:ext cx="5118487" cy="4930056"/>
          </a:xfrm>
        </p:spPr>
        <p:txBody>
          <a:bodyPr/>
          <a:lstStyle>
            <a:lvl1pPr>
              <a:spcAft>
                <a:spcPts val="1000"/>
              </a:spcAft>
              <a:defRPr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2AE663D-18E3-4214-A8EC-8724C96010B4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0D8D7C4-2072-4966-B25B-FD30964741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5197" y="313200"/>
            <a:ext cx="11040532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B987E93-5B92-41DF-BF44-1AAE7F8766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18F7B234-BF36-4B7C-9BE7-139F7CD90B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4095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21015"/>
            <a:ext cx="5136000" cy="4930056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 sz="1900"/>
            </a:lvl1pPr>
            <a:lvl2pPr>
              <a:lnSpc>
                <a:spcPct val="100000"/>
              </a:lnSpc>
              <a:spcAft>
                <a:spcPts val="1000"/>
              </a:spcAft>
              <a:defRPr sz="1900"/>
            </a:lvl2pPr>
            <a:lvl3pPr>
              <a:lnSpc>
                <a:spcPct val="100000"/>
              </a:lnSpc>
              <a:spcAft>
                <a:spcPts val="1000"/>
              </a:spcAft>
              <a:defRPr sz="1900"/>
            </a:lvl3pPr>
            <a:lvl4pPr>
              <a:lnSpc>
                <a:spcPct val="100000"/>
              </a:lnSpc>
              <a:spcAft>
                <a:spcPts val="1000"/>
              </a:spcAft>
              <a:defRPr sz="1900"/>
            </a:lvl4pPr>
            <a:lvl5pPr>
              <a:lnSpc>
                <a:spcPct val="100000"/>
              </a:lnSpc>
              <a:spcAft>
                <a:spcPts val="1000"/>
              </a:spcAft>
              <a:defRPr sz="1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13DF0F-5873-49AF-9208-39854D61C90D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A0AD0A5-224F-4C9B-9A27-D9C0E5E71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2708CC-01EC-4CF0-8C61-BC51F1190D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BAD7C1D-95A6-4122-89D2-98CC016E40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2687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1306288"/>
            <a:ext cx="11040532" cy="49985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34800"/>
            <a:ext cx="5520000" cy="2024154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 sz="1400"/>
            </a:lvl1pPr>
            <a:lvl2pPr>
              <a:lnSpc>
                <a:spcPct val="100000"/>
              </a:lnSpc>
              <a:spcAft>
                <a:spcPts val="1000"/>
              </a:spcAft>
              <a:defRPr sz="1400"/>
            </a:lvl2pPr>
            <a:lvl3pPr>
              <a:lnSpc>
                <a:spcPct val="100000"/>
              </a:lnSpc>
              <a:spcAft>
                <a:spcPts val="1000"/>
              </a:spcAft>
              <a:defRPr sz="1400"/>
            </a:lvl3pPr>
            <a:lvl4pPr>
              <a:lnSpc>
                <a:spcPct val="100000"/>
              </a:lnSpc>
              <a:spcAft>
                <a:spcPts val="1000"/>
              </a:spcAft>
              <a:defRPr sz="1400"/>
            </a:lvl4pPr>
            <a:lvl5pPr>
              <a:lnSpc>
                <a:spcPct val="100000"/>
              </a:lnSpc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ED3A4B6-3484-43F3-860D-793187396B3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49E9801-F1B9-4C57-A25B-2CFE611C42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4559B67-857E-42A8-B029-16972D90E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0FC7BE36-0DF7-467A-AF41-D83F4CA506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7627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34800"/>
            <a:ext cx="4464000" cy="202415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/>
            </a:lvl1pPr>
            <a:lvl2pPr marL="0" indent="0">
              <a:lnSpc>
                <a:spcPct val="100000"/>
              </a:lnSpc>
              <a:spcAft>
                <a:spcPts val="800"/>
              </a:spcAft>
              <a:buNone/>
              <a:defRPr sz="1400"/>
            </a:lvl2pPr>
            <a:lvl3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sz="1400"/>
            </a:lvl3pPr>
            <a:lvl4pPr>
              <a:lnSpc>
                <a:spcPct val="100000"/>
              </a:lnSpc>
              <a:spcAft>
                <a:spcPts val="800"/>
              </a:spcAft>
              <a:defRPr sz="1400"/>
            </a:lvl4pPr>
            <a:lvl5pPr>
              <a:lnSpc>
                <a:spcPct val="100000"/>
              </a:lnSpc>
              <a:spcAft>
                <a:spcPts val="8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278651"/>
            <a:ext cx="3518597" cy="143016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1"/>
            </a:lvl1pPr>
            <a:lvl2pPr marL="0" indent="0">
              <a:lnSpc>
                <a:spcPct val="100000"/>
              </a:lnSpc>
              <a:spcAft>
                <a:spcPts val="800"/>
              </a:spcAft>
              <a:buNone/>
              <a:defRPr sz="1200"/>
            </a:lvl2pPr>
            <a:lvl3pPr marL="171450" indent="-1714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sz="1200"/>
            </a:lvl3pPr>
            <a:lvl4pPr>
              <a:lnSpc>
                <a:spcPct val="100000"/>
              </a:lnSpc>
              <a:spcAft>
                <a:spcPts val="800"/>
              </a:spcAft>
              <a:defRPr sz="1200"/>
            </a:lvl4pPr>
            <a:lvl5pPr>
              <a:lnSpc>
                <a:spcPct val="100000"/>
              </a:lnSpc>
              <a:spcAft>
                <a:spcPts val="8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936DAE-312D-4B83-8B89-5E61561677D5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3C0FF2E-6A98-4868-8ACD-921A0ADEA5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88CAC6A-E4A6-43F4-A73D-06A3C4168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B487DED2-3BF9-49DE-A188-1477B6DA9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3581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72180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8D97D04-000F-4C69-910B-E567126C3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72065" y="5210169"/>
            <a:ext cx="3742952" cy="12161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1C9276-31F6-4C7E-B446-A363A8A5B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1608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80F5D9-D588-4B28-8FF0-E9B1A06BD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3712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B6EB48-095D-4A73-A677-7161BB44F8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5404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3F4AD92-8288-4EC3-94FA-E4A82EBB8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97E1C86-D375-4AC9-BBA5-DDD8BECAA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930B95-05D5-409C-8B10-4D0695974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826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46907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46907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AF4BA06-8CF9-4BD6-9318-B16B2393B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05654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865FA5-1782-4EAA-B8CF-F305439AD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5045827-D0B3-4116-B7AE-AC011BCB5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D60170-0252-4778-B085-20B0CD1877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3580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730045C-7EE2-4D40-8A65-0F99E126B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892C1D-4743-4071-8BF8-053B6D46C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0AB19A29-B637-4A72-9825-65E3CDD80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4773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8445115" cy="4930056"/>
          </a:xfrm>
        </p:spPr>
        <p:txBody>
          <a:bodyPr/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2200">
                <a:solidFill>
                  <a:schemeClr val="bg1"/>
                </a:solidFill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48F723-5030-4FA2-A27A-AA4DB3D329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B7B6655-7403-4C74-A251-EABF2635D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80E3C8-F1C3-4ADA-AE74-7A72710BA4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1487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5600"/>
            <a:ext cx="11040532" cy="4930056"/>
          </a:xfrm>
        </p:spPr>
        <p:txBody>
          <a:bodyPr numCol="2" spcCol="288000"/>
          <a:lstStyle>
            <a:lvl1pPr marL="270000" indent="0">
              <a:lnSpc>
                <a:spcPts val="144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ts val="144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3632488-B73B-4F35-B333-2B1A967D9B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40C4BE-E81C-4229-94E3-80A220D5F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1CC76B-0AC6-4353-A54E-D32E75F17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91730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1pPr>
              <a:spcAft>
                <a:spcPts val="1200"/>
              </a:spcAft>
              <a:defRPr/>
            </a:lvl1pPr>
            <a:lvl2pPr marL="179388" indent="-179388"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5BF9D90-75A7-4258-ADAD-4BECF61CF1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871B2DA-F8B5-4112-BCE3-CFDA34BB0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6EC8F2CA-148C-4883-887D-80A7CFC2CB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3353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B530FFDC-955C-4366-B08F-12C9D409DC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34047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46907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46907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AF4BA06-8CF9-4BD6-9318-B16B2393B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88383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37524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357947"/>
            <a:ext cx="7660216" cy="205898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C02F3890-0815-45FA-8F1E-1140F6DC13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3903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91856"/>
            <a:ext cx="5327761" cy="2158432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8509" y="1291856"/>
            <a:ext cx="5339964" cy="2137144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F5D73FA-30AA-487E-9D16-422D375804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1691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46907"/>
            <a:ext cx="5118487" cy="4930056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329E653-B08C-4FDE-ADD3-028842FDA0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874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37524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357947"/>
            <a:ext cx="7660216" cy="2058987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C02F3890-0815-45FA-8F1E-1140F6DC13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86487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5136000" cy="4930056"/>
          </a:xfrm>
        </p:spPr>
        <p:txBody>
          <a:bodyPr/>
          <a:lstStyle>
            <a:lvl1pPr>
              <a:lnSpc>
                <a:spcPts val="2200"/>
              </a:lnSpc>
              <a:defRPr sz="2200"/>
            </a:lvl1pPr>
            <a:lvl2pPr>
              <a:lnSpc>
                <a:spcPts val="2200"/>
              </a:lnSpc>
              <a:defRPr sz="2200"/>
            </a:lvl2pPr>
            <a:lvl3pPr>
              <a:lnSpc>
                <a:spcPts val="2200"/>
              </a:lnSpc>
              <a:defRPr sz="2200"/>
            </a:lvl3pPr>
            <a:lvl4pPr>
              <a:lnSpc>
                <a:spcPts val="2200"/>
              </a:lnSpc>
              <a:defRPr sz="2200"/>
            </a:lvl4pPr>
            <a:lvl5pPr>
              <a:lnSpc>
                <a:spcPts val="22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363DB35D-5E89-453E-B92F-085C8480EA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60729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2627514"/>
            <a:ext cx="11398251" cy="367727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638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600"/>
            </a:lvl1pPr>
            <a:lvl2pPr>
              <a:lnSpc>
                <a:spcPts val="1920"/>
              </a:lnSpc>
              <a:spcAft>
                <a:spcPts val="0"/>
              </a:spcAft>
              <a:defRPr sz="1600"/>
            </a:lvl2pPr>
            <a:lvl3pPr>
              <a:lnSpc>
                <a:spcPts val="1920"/>
              </a:lnSpc>
              <a:spcAft>
                <a:spcPts val="0"/>
              </a:spcAft>
              <a:defRPr sz="1600"/>
            </a:lvl3pPr>
            <a:lvl4pPr>
              <a:lnSpc>
                <a:spcPts val="1920"/>
              </a:lnSpc>
              <a:spcAft>
                <a:spcPts val="0"/>
              </a:spcAft>
              <a:defRPr sz="1600"/>
            </a:lvl4pPr>
            <a:lvl5pPr>
              <a:lnSpc>
                <a:spcPts val="192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E175B27-6547-4F17-A8CA-FEDE4C65A6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37173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90057"/>
            <a:ext cx="446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400"/>
            </a:lvl1pPr>
            <a:lvl2pPr>
              <a:lnSpc>
                <a:spcPts val="1920"/>
              </a:lnSpc>
              <a:spcAft>
                <a:spcPts val="0"/>
              </a:spcAft>
              <a:defRPr sz="1400"/>
            </a:lvl2pPr>
            <a:lvl3pPr>
              <a:lnSpc>
                <a:spcPts val="1920"/>
              </a:lnSpc>
              <a:spcAft>
                <a:spcPts val="0"/>
              </a:spcAft>
              <a:defRPr sz="1400"/>
            </a:lvl3pPr>
            <a:lvl4pPr>
              <a:lnSpc>
                <a:spcPts val="1920"/>
              </a:lnSpc>
              <a:spcAft>
                <a:spcPts val="0"/>
              </a:spcAft>
              <a:defRPr sz="1400"/>
            </a:lvl4pPr>
            <a:lvl5pPr>
              <a:lnSpc>
                <a:spcPts val="1920"/>
              </a:lnSpc>
              <a:spcAft>
                <a:spcPts val="0"/>
              </a:spcAft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304051"/>
            <a:ext cx="3518597" cy="143016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200"/>
            </a:lvl1pPr>
            <a:lvl2pPr>
              <a:lnSpc>
                <a:spcPts val="1400"/>
              </a:lnSpc>
              <a:spcAft>
                <a:spcPts val="0"/>
              </a:spcAft>
              <a:defRPr sz="1200"/>
            </a:lvl2pPr>
            <a:lvl3pPr>
              <a:lnSpc>
                <a:spcPts val="1400"/>
              </a:lnSpc>
              <a:spcAft>
                <a:spcPts val="0"/>
              </a:spcAft>
              <a:defRPr sz="1200"/>
            </a:lvl3pPr>
            <a:lvl4pPr>
              <a:lnSpc>
                <a:spcPts val="1400"/>
              </a:lnSpc>
              <a:spcAft>
                <a:spcPts val="0"/>
              </a:spcAft>
              <a:defRPr sz="1200"/>
            </a:lvl4pPr>
            <a:lvl5pPr>
              <a:lnSpc>
                <a:spcPts val="1400"/>
              </a:lnSpc>
              <a:spcAft>
                <a:spcPts val="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D4C30F-00F2-4C78-A717-48103A4B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9351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38FC3-134E-4747-AA33-D206F6BEF5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11950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8D97D04-000F-4C69-910B-E567126C3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72065" y="5210169"/>
            <a:ext cx="3742952" cy="12161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1C9276-31F6-4C7E-B446-A363A8A5B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68522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80F5D9-D588-4B28-8FF0-E9B1A06BD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45149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B6EB48-095D-4A73-A677-7161BB44F8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2773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3F4AD92-8288-4EC3-94FA-E4A82EBB8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97E1C86-D375-4AC9-BBA5-DDD8BECAA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930B95-05D5-409C-8B10-4D0695974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81842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865FA5-1782-4EAA-B8CF-F305439AD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5045827-D0B3-4116-B7AE-AC011BCB5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D60170-0252-4778-B085-20B0CD1877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4493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730045C-7EE2-4D40-8A65-0F99E126B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892C1D-4743-4071-8BF8-053B6D46C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0AB19A29-B637-4A72-9825-65E3CDD80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5689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91856"/>
            <a:ext cx="5327761" cy="2158432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8509" y="1291856"/>
            <a:ext cx="5339964" cy="2137144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F5D73FA-30AA-487E-9D16-422D375804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89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8445115" cy="4930056"/>
          </a:xfrm>
        </p:spPr>
        <p:txBody>
          <a:bodyPr/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2200">
                <a:solidFill>
                  <a:schemeClr val="bg1"/>
                </a:solidFill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48F723-5030-4FA2-A27A-AA4DB3D329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B7B6655-7403-4C74-A251-EABF2635D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80E3C8-F1C3-4ADA-AE74-7A72710BA4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8810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5600"/>
            <a:ext cx="11040532" cy="4930056"/>
          </a:xfrm>
        </p:spPr>
        <p:txBody>
          <a:bodyPr numCol="2" spcCol="288000"/>
          <a:lstStyle>
            <a:lvl1pPr marL="270000" indent="0">
              <a:lnSpc>
                <a:spcPts val="144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ts val="144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3632488-B73B-4F35-B333-2B1A967D9B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40C4BE-E81C-4229-94E3-80A220D5F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1CC76B-0AC6-4353-A54E-D32E75F17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0766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1pPr>
              <a:spcAft>
                <a:spcPts val="1200"/>
              </a:spcAft>
              <a:defRPr/>
            </a:lvl1pPr>
            <a:lvl2pPr marL="179388" indent="-179388"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5BF9D90-75A7-4258-ADAD-4BECF61CF1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871B2DA-F8B5-4112-BCE3-CFDA34BB0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6EC8F2CA-148C-4883-887D-80A7CFC2CB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681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B530FFDC-955C-4366-B08F-12C9D409DC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50733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46907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46907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AF4BA06-8CF9-4BD6-9318-B16B2393B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8303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37524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357947"/>
            <a:ext cx="7660216" cy="205898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C02F3890-0815-45FA-8F1E-1140F6DC13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9724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91856"/>
            <a:ext cx="5327761" cy="2158432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8509" y="1291856"/>
            <a:ext cx="5339964" cy="2137144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F5D73FA-30AA-487E-9D16-422D375804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333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46907"/>
            <a:ext cx="5118487" cy="4930056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329E653-B08C-4FDE-ADD3-028842FDA0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93790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5136000" cy="4930056"/>
          </a:xfrm>
        </p:spPr>
        <p:txBody>
          <a:bodyPr/>
          <a:lstStyle>
            <a:lvl1pPr>
              <a:lnSpc>
                <a:spcPts val="2200"/>
              </a:lnSpc>
              <a:defRPr sz="2200"/>
            </a:lvl1pPr>
            <a:lvl2pPr>
              <a:lnSpc>
                <a:spcPts val="2200"/>
              </a:lnSpc>
              <a:defRPr sz="2200"/>
            </a:lvl2pPr>
            <a:lvl3pPr>
              <a:lnSpc>
                <a:spcPts val="2200"/>
              </a:lnSpc>
              <a:defRPr sz="2200"/>
            </a:lvl3pPr>
            <a:lvl4pPr>
              <a:lnSpc>
                <a:spcPts val="2200"/>
              </a:lnSpc>
              <a:defRPr sz="2200"/>
            </a:lvl4pPr>
            <a:lvl5pPr>
              <a:lnSpc>
                <a:spcPts val="22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363DB35D-5E89-453E-B92F-085C8480EA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46350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2627514"/>
            <a:ext cx="11398251" cy="367727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638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600"/>
            </a:lvl1pPr>
            <a:lvl2pPr>
              <a:lnSpc>
                <a:spcPts val="1920"/>
              </a:lnSpc>
              <a:spcAft>
                <a:spcPts val="0"/>
              </a:spcAft>
              <a:defRPr sz="1600"/>
            </a:lvl2pPr>
            <a:lvl3pPr>
              <a:lnSpc>
                <a:spcPts val="1920"/>
              </a:lnSpc>
              <a:spcAft>
                <a:spcPts val="0"/>
              </a:spcAft>
              <a:defRPr sz="1600"/>
            </a:lvl3pPr>
            <a:lvl4pPr>
              <a:lnSpc>
                <a:spcPts val="1920"/>
              </a:lnSpc>
              <a:spcAft>
                <a:spcPts val="0"/>
              </a:spcAft>
              <a:defRPr sz="1600"/>
            </a:lvl4pPr>
            <a:lvl5pPr>
              <a:lnSpc>
                <a:spcPts val="192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E175B27-6547-4F17-A8CA-FEDE4C65A6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964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46907"/>
            <a:ext cx="5118487" cy="4930056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329E653-B08C-4FDE-ADD3-028842FDA0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2479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90057"/>
            <a:ext cx="446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400"/>
            </a:lvl1pPr>
            <a:lvl2pPr>
              <a:lnSpc>
                <a:spcPts val="1920"/>
              </a:lnSpc>
              <a:spcAft>
                <a:spcPts val="0"/>
              </a:spcAft>
              <a:defRPr sz="1400"/>
            </a:lvl2pPr>
            <a:lvl3pPr>
              <a:lnSpc>
                <a:spcPts val="1920"/>
              </a:lnSpc>
              <a:spcAft>
                <a:spcPts val="0"/>
              </a:spcAft>
              <a:defRPr sz="1400"/>
            </a:lvl3pPr>
            <a:lvl4pPr>
              <a:lnSpc>
                <a:spcPts val="1920"/>
              </a:lnSpc>
              <a:spcAft>
                <a:spcPts val="0"/>
              </a:spcAft>
              <a:defRPr sz="1400"/>
            </a:lvl4pPr>
            <a:lvl5pPr>
              <a:lnSpc>
                <a:spcPts val="1920"/>
              </a:lnSpc>
              <a:spcAft>
                <a:spcPts val="0"/>
              </a:spcAft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304051"/>
            <a:ext cx="3518597" cy="143016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200"/>
            </a:lvl1pPr>
            <a:lvl2pPr>
              <a:lnSpc>
                <a:spcPts val="1400"/>
              </a:lnSpc>
              <a:spcAft>
                <a:spcPts val="0"/>
              </a:spcAft>
              <a:defRPr sz="1200"/>
            </a:lvl2pPr>
            <a:lvl3pPr>
              <a:lnSpc>
                <a:spcPts val="1400"/>
              </a:lnSpc>
              <a:spcAft>
                <a:spcPts val="0"/>
              </a:spcAft>
              <a:defRPr sz="1200"/>
            </a:lvl3pPr>
            <a:lvl4pPr>
              <a:lnSpc>
                <a:spcPts val="1400"/>
              </a:lnSpc>
              <a:spcAft>
                <a:spcPts val="0"/>
              </a:spcAft>
              <a:defRPr sz="1200"/>
            </a:lvl4pPr>
            <a:lvl5pPr>
              <a:lnSpc>
                <a:spcPts val="1400"/>
              </a:lnSpc>
              <a:spcAft>
                <a:spcPts val="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D4C30F-00F2-4C78-A717-48103A4B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28250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F119AFD-192A-4A19-9CC0-4065A75F0B25}"/>
              </a:ext>
            </a:extLst>
          </p:cNvPr>
          <p:cNvSpPr/>
          <p:nvPr userDrawn="1"/>
        </p:nvSpPr>
        <p:spPr>
          <a:xfrm>
            <a:off x="0" y="0"/>
            <a:ext cx="12200432" cy="6419850"/>
          </a:xfrm>
          <a:custGeom>
            <a:avLst/>
            <a:gdLst>
              <a:gd name="connsiteX0" fmla="*/ 0 w 12192000"/>
              <a:gd name="connsiteY0" fmla="*/ 0 h 6456935"/>
              <a:gd name="connsiteX1" fmla="*/ 12192000 w 12192000"/>
              <a:gd name="connsiteY1" fmla="*/ 0 h 6456935"/>
              <a:gd name="connsiteX2" fmla="*/ 12192000 w 12192000"/>
              <a:gd name="connsiteY2" fmla="*/ 6456935 h 6456935"/>
              <a:gd name="connsiteX3" fmla="*/ 0 w 12192000"/>
              <a:gd name="connsiteY3" fmla="*/ 6456935 h 6456935"/>
              <a:gd name="connsiteX4" fmla="*/ 0 w 12192000"/>
              <a:gd name="connsiteY4" fmla="*/ 0 h 6456935"/>
              <a:gd name="connsiteX0" fmla="*/ 0 w 12192000"/>
              <a:gd name="connsiteY0" fmla="*/ 0 h 6456935"/>
              <a:gd name="connsiteX1" fmla="*/ 12192000 w 12192000"/>
              <a:gd name="connsiteY1" fmla="*/ 0 h 6456935"/>
              <a:gd name="connsiteX2" fmla="*/ 12172950 w 12192000"/>
              <a:gd name="connsiteY2" fmla="*/ 4666235 h 6456935"/>
              <a:gd name="connsiteX3" fmla="*/ 12192000 w 12192000"/>
              <a:gd name="connsiteY3" fmla="*/ 6456935 h 6456935"/>
              <a:gd name="connsiteX4" fmla="*/ 0 w 12192000"/>
              <a:gd name="connsiteY4" fmla="*/ 6456935 h 6456935"/>
              <a:gd name="connsiteX5" fmla="*/ 0 w 12192000"/>
              <a:gd name="connsiteY5" fmla="*/ 0 h 6456935"/>
              <a:gd name="connsiteX0" fmla="*/ 0 w 12192000"/>
              <a:gd name="connsiteY0" fmla="*/ 0 h 6456935"/>
              <a:gd name="connsiteX1" fmla="*/ 12192000 w 12192000"/>
              <a:gd name="connsiteY1" fmla="*/ 0 h 6456935"/>
              <a:gd name="connsiteX2" fmla="*/ 12172950 w 12192000"/>
              <a:gd name="connsiteY2" fmla="*/ 4666235 h 6456935"/>
              <a:gd name="connsiteX3" fmla="*/ 0 w 12192000"/>
              <a:gd name="connsiteY3" fmla="*/ 6456935 h 6456935"/>
              <a:gd name="connsiteX4" fmla="*/ 0 w 12192000"/>
              <a:gd name="connsiteY4" fmla="*/ 0 h 6456935"/>
              <a:gd name="connsiteX0" fmla="*/ 0 w 12192000"/>
              <a:gd name="connsiteY0" fmla="*/ 0 h 6456935"/>
              <a:gd name="connsiteX1" fmla="*/ 12192000 w 12192000"/>
              <a:gd name="connsiteY1" fmla="*/ 0 h 6456935"/>
              <a:gd name="connsiteX2" fmla="*/ 12172950 w 12192000"/>
              <a:gd name="connsiteY2" fmla="*/ 4609085 h 6456935"/>
              <a:gd name="connsiteX3" fmla="*/ 0 w 12192000"/>
              <a:gd name="connsiteY3" fmla="*/ 6456935 h 6456935"/>
              <a:gd name="connsiteX4" fmla="*/ 0 w 12192000"/>
              <a:gd name="connsiteY4" fmla="*/ 0 h 6456935"/>
              <a:gd name="connsiteX0" fmla="*/ 0 w 12192000"/>
              <a:gd name="connsiteY0" fmla="*/ 0 h 6456935"/>
              <a:gd name="connsiteX1" fmla="*/ 12192000 w 12192000"/>
              <a:gd name="connsiteY1" fmla="*/ 0 h 6456935"/>
              <a:gd name="connsiteX2" fmla="*/ 12186598 w 12192000"/>
              <a:gd name="connsiteY2" fmla="*/ 4663676 h 6456935"/>
              <a:gd name="connsiteX3" fmla="*/ 0 w 12192000"/>
              <a:gd name="connsiteY3" fmla="*/ 6456935 h 6456935"/>
              <a:gd name="connsiteX4" fmla="*/ 0 w 12192000"/>
              <a:gd name="connsiteY4" fmla="*/ 0 h 6456935"/>
              <a:gd name="connsiteX0" fmla="*/ 0 w 12200432"/>
              <a:gd name="connsiteY0" fmla="*/ 0 h 6456935"/>
              <a:gd name="connsiteX1" fmla="*/ 12192000 w 12200432"/>
              <a:gd name="connsiteY1" fmla="*/ 0 h 6456935"/>
              <a:gd name="connsiteX2" fmla="*/ 12200246 w 12200432"/>
              <a:gd name="connsiteY2" fmla="*/ 4663676 h 6456935"/>
              <a:gd name="connsiteX3" fmla="*/ 0 w 12200432"/>
              <a:gd name="connsiteY3" fmla="*/ 6456935 h 6456935"/>
              <a:gd name="connsiteX4" fmla="*/ 0 w 12200432"/>
              <a:gd name="connsiteY4" fmla="*/ 0 h 6456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0432" h="6456935">
                <a:moveTo>
                  <a:pt x="0" y="0"/>
                </a:moveTo>
                <a:lnTo>
                  <a:pt x="12192000" y="0"/>
                </a:lnTo>
                <a:cubicBezTo>
                  <a:pt x="12190199" y="1554559"/>
                  <a:pt x="12202047" y="3109117"/>
                  <a:pt x="12200246" y="4663676"/>
                </a:cubicBezTo>
                <a:lnTo>
                  <a:pt x="0" y="6456935"/>
                </a:lnTo>
                <a:lnTo>
                  <a:pt x="0" y="0"/>
                </a:lnTo>
                <a:close/>
              </a:path>
            </a:pathLst>
          </a:custGeom>
          <a:solidFill>
            <a:srgbClr val="4CB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96948AF9-965F-461C-BFE8-BD11D65605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00147" y="-15070"/>
            <a:ext cx="5905501" cy="5748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0185B77-60CD-4D87-8FD5-4AD840342E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79335" y="5438231"/>
            <a:ext cx="3276000" cy="11363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82057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03276" y="2649904"/>
            <a:ext cx="7866856" cy="1050505"/>
          </a:xfrm>
        </p:spPr>
        <p:txBody>
          <a:bodyPr/>
          <a:lstStyle>
            <a:lvl1pPr marL="0" indent="0" algn="l">
              <a:lnSpc>
                <a:spcPts val="180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946296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12B4682-452F-4D0E-8D99-6A5AA56050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579C5C5-A810-42AB-8512-7F0D0706C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00273" y="6444000"/>
            <a:ext cx="928201" cy="237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77B925FA-8886-46D2-878B-0AF0DA3EE9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1784"/>
            <a:ext cx="1980000" cy="68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84717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12B4682-452F-4D0E-8D99-6A5AA56050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579C5C5-A810-42AB-8512-7F0D0706C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00273" y="6444000"/>
            <a:ext cx="928201" cy="237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1DCFF22-76D8-4E55-AE5F-1A49E96ACF0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36267" y="301784"/>
            <a:ext cx="1980000" cy="68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95706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332000"/>
            <a:ext cx="7866000" cy="4672042"/>
          </a:xfrm>
        </p:spPr>
        <p:txBody>
          <a:bodyPr/>
          <a:lstStyle>
            <a:lvl1pPr>
              <a:lnSpc>
                <a:spcPts val="1700"/>
              </a:lnSpc>
              <a:spcAft>
                <a:spcPts val="1400"/>
              </a:spcAft>
              <a:defRPr sz="1500"/>
            </a:lvl1pPr>
            <a:lvl2pPr>
              <a:lnSpc>
                <a:spcPts val="1700"/>
              </a:lnSpc>
              <a:spcAft>
                <a:spcPts val="1400"/>
              </a:spcAft>
              <a:defRPr sz="1500"/>
            </a:lvl2pPr>
            <a:lvl3pPr>
              <a:lnSpc>
                <a:spcPts val="1700"/>
              </a:lnSpc>
              <a:spcAft>
                <a:spcPts val="1400"/>
              </a:spcAft>
              <a:defRPr sz="1500"/>
            </a:lvl3pPr>
            <a:lvl4pPr>
              <a:lnSpc>
                <a:spcPts val="1700"/>
              </a:lnSpc>
              <a:spcAft>
                <a:spcPts val="1400"/>
              </a:spcAft>
              <a:defRPr sz="1500"/>
            </a:lvl4pPr>
            <a:lvl5pPr>
              <a:lnSpc>
                <a:spcPts val="1700"/>
              </a:lnSpc>
              <a:spcAft>
                <a:spcPts val="14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700273" y="6444000"/>
            <a:ext cx="928201" cy="237233"/>
          </a:xfrm>
        </p:spPr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056593E4-3F82-4C9D-A835-C6A38859AB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259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>
            <a:lvl1pPr>
              <a:lnSpc>
                <a:spcPts val="24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332000"/>
            <a:ext cx="7632000" cy="4712169"/>
          </a:xfrm>
        </p:spPr>
        <p:txBody>
          <a:bodyPr/>
          <a:lstStyle>
            <a:lvl1pPr>
              <a:lnSpc>
                <a:spcPts val="2800"/>
              </a:lnSpc>
              <a:defRPr sz="2400">
                <a:solidFill>
                  <a:schemeClr val="bg1"/>
                </a:solidFill>
              </a:defRPr>
            </a:lvl1pPr>
            <a:lvl2pPr>
              <a:lnSpc>
                <a:spcPts val="2800"/>
              </a:lnSpc>
              <a:defRPr sz="24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4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4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700273" y="6444000"/>
            <a:ext cx="928201" cy="237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CACC5CA-05EA-41E3-8F8E-4E736CB740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1784"/>
            <a:ext cx="1980000" cy="688478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79601F37-500D-4E3B-BDF3-40D7567879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5444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5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331999"/>
            <a:ext cx="11040532" cy="4896000"/>
          </a:xfrm>
        </p:spPr>
        <p:txBody>
          <a:bodyPr numCol="2" spcCol="288000"/>
          <a:lstStyle>
            <a:lvl1pPr marL="324000" indent="0">
              <a:lnSpc>
                <a:spcPts val="1700"/>
              </a:lnSpc>
              <a:spcAft>
                <a:spcPts val="600"/>
              </a:spcAft>
              <a:tabLst/>
              <a:defRPr sz="1600" b="1">
                <a:solidFill>
                  <a:schemeClr val="accent3"/>
                </a:solidFill>
              </a:defRPr>
            </a:lvl1pPr>
            <a:lvl2pPr marL="0" indent="0">
              <a:lnSpc>
                <a:spcPts val="1700"/>
              </a:lnSpc>
              <a:spcAft>
                <a:spcPts val="600"/>
              </a:spcAft>
              <a:buNone/>
              <a:tabLst>
                <a:tab pos="447675" algn="l"/>
              </a:tabLst>
              <a:defRPr sz="16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700273" y="6444000"/>
            <a:ext cx="928201" cy="237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DBE4CC85-324C-42E1-9C77-C4A0C9FF8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1784"/>
            <a:ext cx="1980000" cy="68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37839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332000"/>
            <a:ext cx="9180000" cy="4712170"/>
          </a:xfrm>
        </p:spPr>
        <p:txBody>
          <a:bodyPr numCol="2" spcCol="432000" rtlCol="0"/>
          <a:lstStyle>
            <a:lvl1pPr>
              <a:lnSpc>
                <a:spcPts val="1700"/>
              </a:lnSpc>
              <a:spcAft>
                <a:spcPts val="1200"/>
              </a:spcAft>
              <a:defRPr sz="1500"/>
            </a:lvl1pPr>
            <a:lvl2pPr marL="179388" indent="-179388">
              <a:lnSpc>
                <a:spcPts val="1700"/>
              </a:lnSpc>
              <a:defRPr sz="1500"/>
            </a:lvl2pPr>
            <a:lvl3pPr>
              <a:lnSpc>
                <a:spcPts val="1700"/>
              </a:lnSpc>
              <a:defRPr sz="1500"/>
            </a:lvl3pPr>
            <a:lvl4pPr>
              <a:lnSpc>
                <a:spcPts val="1700"/>
              </a:lnSpc>
              <a:defRPr sz="1500"/>
            </a:lvl4pPr>
            <a:lvl5pPr>
              <a:lnSpc>
                <a:spcPts val="1700"/>
              </a:lnSpc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700273" y="6444000"/>
            <a:ext cx="928201" cy="237233"/>
          </a:xfrm>
        </p:spPr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58A89F72-9144-4278-8864-D9F5435595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843863F-1C78-4A29-90BF-957765F970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531555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332000"/>
            <a:ext cx="11040532" cy="4712170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FE8CCF21-5196-40D3-90EF-A05A574FB3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7E6E2BE-AAD5-4A0B-BBFF-3347C2591C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259376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332000"/>
            <a:ext cx="3424099" cy="4807244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00" y="1332000"/>
            <a:ext cx="5364000" cy="4807244"/>
          </a:xfrm>
        </p:spPr>
        <p:txBody>
          <a:bodyPr numCol="2" spcCol="28800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FEE0802-9BDA-4580-963B-CCA111BE59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70DEB040-9785-4978-B0CE-5F11C1C655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90751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5136000" cy="4930056"/>
          </a:xfrm>
        </p:spPr>
        <p:txBody>
          <a:bodyPr/>
          <a:lstStyle>
            <a:lvl1pPr>
              <a:lnSpc>
                <a:spcPts val="2200"/>
              </a:lnSpc>
              <a:defRPr sz="2200"/>
            </a:lvl1pPr>
            <a:lvl2pPr>
              <a:lnSpc>
                <a:spcPts val="2200"/>
              </a:lnSpc>
              <a:defRPr sz="2200"/>
            </a:lvl2pPr>
            <a:lvl3pPr>
              <a:lnSpc>
                <a:spcPts val="2200"/>
              </a:lnSpc>
              <a:defRPr sz="2200"/>
            </a:lvl3pPr>
            <a:lvl4pPr>
              <a:lnSpc>
                <a:spcPts val="2200"/>
              </a:lnSpc>
              <a:defRPr sz="2200"/>
            </a:lvl4pPr>
            <a:lvl5pPr>
              <a:lnSpc>
                <a:spcPts val="2200"/>
              </a:lnSpc>
              <a:defRPr sz="2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363DB35D-5E89-453E-B92F-085C8480EA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06641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332000"/>
            <a:ext cx="3322498" cy="1929426"/>
          </a:xfrm>
        </p:spPr>
        <p:txBody>
          <a:bodyPr/>
          <a:lstStyle>
            <a:lvl1pPr>
              <a:lnSpc>
                <a:spcPts val="1800"/>
              </a:lnSpc>
              <a:spcAft>
                <a:spcPts val="0"/>
              </a:spcAft>
              <a:defRPr sz="1400" b="1"/>
            </a:lvl1pPr>
            <a:lvl2pPr marL="0" indent="0">
              <a:lnSpc>
                <a:spcPts val="1800"/>
              </a:lnSpc>
              <a:buNone/>
              <a:defRPr sz="1400" b="0"/>
            </a:lvl2pPr>
            <a:lvl3pPr marL="180000" indent="-216000">
              <a:lnSpc>
                <a:spcPts val="1800"/>
              </a:lnSpc>
              <a:buFont typeface="Arial" panose="020B0604020202020204" pitchFamily="34" charset="0"/>
              <a:buChar char="•"/>
              <a:defRPr sz="1400" b="0"/>
            </a:lvl3pPr>
            <a:lvl4pPr>
              <a:lnSpc>
                <a:spcPts val="1800"/>
              </a:lnSpc>
              <a:defRPr sz="1400" b="0"/>
            </a:lvl4pPr>
            <a:lvl5pPr>
              <a:lnSpc>
                <a:spcPts val="1800"/>
              </a:lnSpc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87941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2" y="3865184"/>
            <a:ext cx="3322498" cy="1929426"/>
          </a:xfrm>
        </p:spPr>
        <p:txBody>
          <a:bodyPr/>
          <a:lstStyle>
            <a:lvl1pPr>
              <a:spcAft>
                <a:spcPts val="0"/>
              </a:spcAft>
              <a:defRPr sz="1400" b="1"/>
            </a:lvl1pPr>
            <a:lvl2pPr marL="0" indent="0">
              <a:buNone/>
              <a:defRPr sz="1400" b="0"/>
            </a:lvl2pPr>
            <a:lvl3pPr marL="180000" indent="-216000">
              <a:buFont typeface="Arial" panose="020B0604020202020204" pitchFamily="34" charset="0"/>
              <a:buChar char="•"/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601980" y="1332000"/>
            <a:ext cx="6300000" cy="205898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601127" y="3899015"/>
            <a:ext cx="6300000" cy="205898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8B0B28C-D753-4F42-BD5D-27052DBB1E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FEE02DF3-2915-48FE-BFA2-E6E6FC70C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72967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332000"/>
            <a:ext cx="4500000" cy="2158432"/>
          </a:xfrm>
        </p:spPr>
        <p:txBody>
          <a:bodyPr/>
          <a:lstStyle>
            <a:lvl1pPr>
              <a:lnSpc>
                <a:spcPts val="1700"/>
              </a:lnSpc>
              <a:spcAft>
                <a:spcPts val="1200"/>
              </a:spcAft>
              <a:defRPr sz="1500" b="0"/>
            </a:lvl1pPr>
            <a:lvl2pPr>
              <a:lnSpc>
                <a:spcPts val="1700"/>
              </a:lnSpc>
              <a:spcAft>
                <a:spcPts val="1200"/>
              </a:spcAft>
              <a:defRPr sz="1500" b="0"/>
            </a:lvl2pPr>
            <a:lvl3pPr>
              <a:lnSpc>
                <a:spcPts val="1700"/>
              </a:lnSpc>
              <a:spcAft>
                <a:spcPts val="1200"/>
              </a:spcAft>
              <a:defRPr sz="1500" b="0"/>
            </a:lvl3pPr>
            <a:lvl4pPr>
              <a:lnSpc>
                <a:spcPts val="1700"/>
              </a:lnSpc>
              <a:spcAft>
                <a:spcPts val="1200"/>
              </a:spcAft>
              <a:defRPr sz="1500" b="0"/>
            </a:lvl4pPr>
            <a:lvl5pPr>
              <a:lnSpc>
                <a:spcPts val="1700"/>
              </a:lnSpc>
              <a:spcAft>
                <a:spcPts val="1200"/>
              </a:spcAft>
              <a:defRPr sz="15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8509" y="1332000"/>
            <a:ext cx="4320000" cy="2137144"/>
          </a:xfrm>
        </p:spPr>
        <p:txBody>
          <a:bodyPr/>
          <a:lstStyle>
            <a:lvl1pPr>
              <a:lnSpc>
                <a:spcPts val="1700"/>
              </a:lnSpc>
              <a:spcAft>
                <a:spcPts val="1200"/>
              </a:spcAft>
              <a:defRPr sz="1500" b="0"/>
            </a:lvl1pPr>
            <a:lvl2pPr>
              <a:lnSpc>
                <a:spcPts val="1700"/>
              </a:lnSpc>
              <a:spcAft>
                <a:spcPts val="1200"/>
              </a:spcAft>
              <a:defRPr sz="1500" b="0"/>
            </a:lvl2pPr>
            <a:lvl3pPr>
              <a:lnSpc>
                <a:spcPts val="1700"/>
              </a:lnSpc>
              <a:spcAft>
                <a:spcPts val="1200"/>
              </a:spcAft>
              <a:defRPr sz="1500" b="0"/>
            </a:lvl3pPr>
            <a:lvl4pPr>
              <a:lnSpc>
                <a:spcPts val="1700"/>
              </a:lnSpc>
              <a:spcAft>
                <a:spcPts val="1200"/>
              </a:spcAft>
              <a:defRPr sz="1500" b="0"/>
            </a:lvl4pPr>
            <a:lvl5pPr>
              <a:lnSpc>
                <a:spcPts val="1700"/>
              </a:lnSpc>
              <a:spcAft>
                <a:spcPts val="1200"/>
              </a:spcAft>
              <a:defRPr sz="15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634013"/>
            <a:ext cx="2808000" cy="2232000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3640 w 1938707"/>
              <a:gd name="connsiteY4" fmla="*/ 677043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3640 w 1938707"/>
              <a:gd name="connsiteY4" fmla="*/ 677043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3640 w 1938707"/>
              <a:gd name="connsiteY4" fmla="*/ 677043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3640 w 1938707"/>
              <a:gd name="connsiteY4" fmla="*/ 677043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713921" y="732833"/>
                  <a:pt x="1663640" y="677043"/>
                </a:cubicBezTo>
                <a:cubicBezTo>
                  <a:pt x="1697090" y="642164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703300" y="1005219"/>
                  <a:pt x="1669070" y="970636"/>
                </a:cubicBezTo>
                <a:cubicBezTo>
                  <a:pt x="1715772" y="924911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288000" anchor="ctr"/>
          <a:lstStyle>
            <a:lvl1pPr marL="360000" algn="l">
              <a:defRPr sz="16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3812454"/>
            <a:ext cx="1944000" cy="1944000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6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3812454"/>
            <a:ext cx="1944000" cy="1944000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6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3812454"/>
            <a:ext cx="1944000" cy="1944000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6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F6BB18B-FA95-4BB1-A7FA-F5DFE67EAA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E7BA9330-4851-41B2-9775-13805FDBE5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429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65600" y="1332000"/>
            <a:ext cx="6051600" cy="226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65600" y="3836671"/>
            <a:ext cx="6051600" cy="226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332000"/>
            <a:ext cx="4428000" cy="4676347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81A4472B-9B1B-4B14-BDC0-88DFF3D938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27F9E6FE-392B-4E0B-AAED-3E7C68D4D2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9838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66611" y="1332000"/>
            <a:ext cx="6049657" cy="475681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332000"/>
            <a:ext cx="3924000" cy="4737028"/>
          </a:xfrm>
        </p:spPr>
        <p:txBody>
          <a:bodyPr/>
          <a:lstStyle>
            <a:lvl1pPr>
              <a:lnSpc>
                <a:spcPts val="2300"/>
              </a:lnSpc>
              <a:defRPr sz="2100"/>
            </a:lvl1pPr>
            <a:lvl2pPr>
              <a:lnSpc>
                <a:spcPts val="2300"/>
              </a:lnSpc>
              <a:defRPr sz="2100"/>
            </a:lvl2pPr>
            <a:lvl3pPr>
              <a:lnSpc>
                <a:spcPts val="2300"/>
              </a:lnSpc>
              <a:defRPr sz="2100"/>
            </a:lvl3pPr>
            <a:lvl4pPr>
              <a:lnSpc>
                <a:spcPts val="2300"/>
              </a:lnSpc>
              <a:defRPr sz="2100"/>
            </a:lvl4pPr>
            <a:lvl5pPr>
              <a:lnSpc>
                <a:spcPts val="2300"/>
              </a:lnSpc>
              <a:defRPr sz="2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16820C3-DB5B-44B4-8970-4D1DD69C3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B3D93E43-05FF-484B-BEF0-F92C48C191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687315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2743200"/>
            <a:ext cx="11052739" cy="3561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332000"/>
            <a:ext cx="4644000" cy="2024154"/>
          </a:xfrm>
        </p:spPr>
        <p:txBody>
          <a:bodyPr/>
          <a:lstStyle>
            <a:lvl1pPr>
              <a:lnSpc>
                <a:spcPts val="1700"/>
              </a:lnSpc>
              <a:spcAft>
                <a:spcPts val="600"/>
              </a:spcAft>
              <a:defRPr sz="1500"/>
            </a:lvl1pPr>
            <a:lvl2pPr>
              <a:lnSpc>
                <a:spcPts val="1700"/>
              </a:lnSpc>
              <a:spcAft>
                <a:spcPts val="600"/>
              </a:spcAft>
              <a:defRPr sz="1500"/>
            </a:lvl2pPr>
            <a:lvl3pPr>
              <a:lnSpc>
                <a:spcPts val="1700"/>
              </a:lnSpc>
              <a:spcAft>
                <a:spcPts val="600"/>
              </a:spcAft>
              <a:defRPr sz="1500"/>
            </a:lvl3pPr>
            <a:lvl4pPr>
              <a:lnSpc>
                <a:spcPts val="1700"/>
              </a:lnSpc>
              <a:spcAft>
                <a:spcPts val="600"/>
              </a:spcAft>
              <a:defRPr sz="1500"/>
            </a:lvl4pPr>
            <a:lvl5pPr>
              <a:lnSpc>
                <a:spcPts val="1700"/>
              </a:lnSpc>
              <a:spcAft>
                <a:spcPts val="6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634C02C8-4F34-4032-8EA3-A4FA214C7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1162830-4084-4703-B30A-48927C7076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228898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332000"/>
            <a:ext cx="7918992" cy="48072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332000"/>
            <a:ext cx="4464000" cy="2024154"/>
          </a:xfrm>
        </p:spPr>
        <p:txBody>
          <a:bodyPr/>
          <a:lstStyle>
            <a:lvl1pPr>
              <a:lnSpc>
                <a:spcPts val="1700"/>
              </a:lnSpc>
              <a:spcBef>
                <a:spcPts val="600"/>
              </a:spcBef>
              <a:spcAft>
                <a:spcPts val="0"/>
              </a:spcAft>
              <a:defRPr sz="1500"/>
            </a:lvl1pPr>
            <a:lvl2pPr>
              <a:lnSpc>
                <a:spcPts val="1700"/>
              </a:lnSpc>
              <a:spcAft>
                <a:spcPts val="600"/>
              </a:spcAft>
              <a:defRPr sz="1500"/>
            </a:lvl2pPr>
            <a:lvl3pPr>
              <a:lnSpc>
                <a:spcPts val="1700"/>
              </a:lnSpc>
              <a:spcAft>
                <a:spcPts val="600"/>
              </a:spcAft>
              <a:defRPr sz="1500"/>
            </a:lvl3pPr>
            <a:lvl4pPr>
              <a:lnSpc>
                <a:spcPts val="1700"/>
              </a:lnSpc>
              <a:spcAft>
                <a:spcPts val="600"/>
              </a:spcAft>
              <a:defRPr sz="1500"/>
            </a:lvl4pPr>
            <a:lvl5pPr>
              <a:lnSpc>
                <a:spcPts val="1700"/>
              </a:lnSpc>
              <a:spcAft>
                <a:spcPts val="6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8592000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152000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304051"/>
            <a:ext cx="2520000" cy="1430160"/>
          </a:xfrm>
        </p:spPr>
        <p:txBody>
          <a:bodyPr/>
          <a:lstStyle>
            <a:lvl1pPr>
              <a:lnSpc>
                <a:spcPts val="1700"/>
              </a:lnSpc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lnSpc>
                <a:spcPts val="1700"/>
              </a:lnSpc>
              <a:spcAft>
                <a:spcPts val="600"/>
              </a:spcAft>
              <a:defRPr sz="1400"/>
            </a:lvl2pPr>
            <a:lvl3pPr>
              <a:lnSpc>
                <a:spcPts val="1700"/>
              </a:lnSpc>
              <a:spcAft>
                <a:spcPts val="600"/>
              </a:spcAft>
              <a:defRPr sz="1400"/>
            </a:lvl3pPr>
            <a:lvl4pPr>
              <a:lnSpc>
                <a:spcPts val="1700"/>
              </a:lnSpc>
              <a:spcAft>
                <a:spcPts val="600"/>
              </a:spcAft>
              <a:defRPr sz="1400"/>
            </a:lvl4pPr>
            <a:lvl5pPr>
              <a:lnSpc>
                <a:spcPts val="17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5804F-A5A8-4BF2-8616-E992A0855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6267" y="302400"/>
            <a:ext cx="1980000" cy="686802"/>
          </a:xfrm>
          <a:prstGeom prst="rect">
            <a:avLst/>
          </a:prstGeom>
        </p:spPr>
      </p:pic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C0367698-BE70-476C-89F4-6FB04DAB81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46925"/>
            <a:ext cx="8592000" cy="360000"/>
          </a:xfrm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561467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8D97D04-000F-4C69-910B-E567126C3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72065" y="5210169"/>
            <a:ext cx="3742952" cy="12161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1C9276-31F6-4C7E-B446-A363A8A5B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6101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80F5D9-D588-4B28-8FF0-E9B1A06BD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77704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B6EB48-095D-4A73-A677-7161BB44F8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4228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3F4AD92-8288-4EC3-94FA-E4A82EBB8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97E1C86-D375-4AC9-BBA5-DDD8BECAA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930B95-05D5-409C-8B10-4D0695974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3546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2627514"/>
            <a:ext cx="11398251" cy="367727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638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600"/>
            </a:lvl1pPr>
            <a:lvl2pPr>
              <a:lnSpc>
                <a:spcPts val="1920"/>
              </a:lnSpc>
              <a:spcAft>
                <a:spcPts val="0"/>
              </a:spcAft>
              <a:defRPr sz="1600"/>
            </a:lvl2pPr>
            <a:lvl3pPr>
              <a:lnSpc>
                <a:spcPts val="1920"/>
              </a:lnSpc>
              <a:spcAft>
                <a:spcPts val="0"/>
              </a:spcAft>
              <a:defRPr sz="1600"/>
            </a:lvl3pPr>
            <a:lvl4pPr>
              <a:lnSpc>
                <a:spcPts val="1920"/>
              </a:lnSpc>
              <a:spcAft>
                <a:spcPts val="0"/>
              </a:spcAft>
              <a:defRPr sz="1600"/>
            </a:lvl4pPr>
            <a:lvl5pPr>
              <a:lnSpc>
                <a:spcPts val="192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E175B27-6547-4F17-A8CA-FEDE4C65A6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7637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865FA5-1782-4EAA-B8CF-F305439AD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5045827-D0B3-4116-B7AE-AC011BCB5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D60170-0252-4778-B085-20B0CD1877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37383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730045C-7EE2-4D40-8A65-0F99E126B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892C1D-4743-4071-8BF8-053B6D46C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0AB19A29-B637-4A72-9825-65E3CDD80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42946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8445115" cy="4930056"/>
          </a:xfrm>
        </p:spPr>
        <p:txBody>
          <a:bodyPr/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2200">
                <a:solidFill>
                  <a:schemeClr val="bg1"/>
                </a:solidFill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48F723-5030-4FA2-A27A-AA4DB3D329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B7B6655-7403-4C74-A251-EABF2635D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80E3C8-F1C3-4ADA-AE74-7A72710BA4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68099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5600"/>
            <a:ext cx="11040532" cy="4930056"/>
          </a:xfrm>
        </p:spPr>
        <p:txBody>
          <a:bodyPr numCol="2" spcCol="288000"/>
          <a:lstStyle>
            <a:lvl1pPr marL="270000" indent="0">
              <a:lnSpc>
                <a:spcPts val="144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ts val="144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3632488-B73B-4F35-B333-2B1A967D9B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40C4BE-E81C-4229-94E3-80A220D5F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1CC76B-0AC6-4353-A54E-D32E75F17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35755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1pPr>
              <a:spcAft>
                <a:spcPts val="1200"/>
              </a:spcAft>
              <a:defRPr/>
            </a:lvl1pPr>
            <a:lvl2pPr marL="179388" indent="-179388">
              <a:defRPr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5BF9D90-75A7-4258-ADAD-4BECF61CF1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871B2DA-F8B5-4112-BCE3-CFDA34BB0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6EC8F2CA-148C-4883-887D-80A7CFC2CB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51987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B530FFDC-955C-4366-B08F-12C9D409DC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03643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46907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46907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AF4BA06-8CF9-4BD6-9318-B16B2393B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51019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37524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357947"/>
            <a:ext cx="7660216" cy="2058987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/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C02F3890-0815-45FA-8F1E-1140F6DC13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0378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91856"/>
            <a:ext cx="5327761" cy="2158432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8509" y="1291856"/>
            <a:ext cx="5339964" cy="2137144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F5D73FA-30AA-487E-9D16-422D375804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884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46907"/>
            <a:ext cx="5118487" cy="4930056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329E653-B08C-4FDE-ADD3-028842FDA0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9202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90057"/>
            <a:ext cx="446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400"/>
            </a:lvl1pPr>
            <a:lvl2pPr>
              <a:lnSpc>
                <a:spcPts val="1920"/>
              </a:lnSpc>
              <a:spcAft>
                <a:spcPts val="0"/>
              </a:spcAft>
              <a:defRPr sz="1400"/>
            </a:lvl2pPr>
            <a:lvl3pPr>
              <a:lnSpc>
                <a:spcPts val="1920"/>
              </a:lnSpc>
              <a:spcAft>
                <a:spcPts val="0"/>
              </a:spcAft>
              <a:defRPr sz="1400"/>
            </a:lvl3pPr>
            <a:lvl4pPr>
              <a:lnSpc>
                <a:spcPts val="1920"/>
              </a:lnSpc>
              <a:spcAft>
                <a:spcPts val="0"/>
              </a:spcAft>
              <a:defRPr sz="1400"/>
            </a:lvl4pPr>
            <a:lvl5pPr>
              <a:lnSpc>
                <a:spcPts val="1920"/>
              </a:lnSpc>
              <a:spcAft>
                <a:spcPts val="0"/>
              </a:spcAft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304051"/>
            <a:ext cx="3518597" cy="143016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200"/>
            </a:lvl1pPr>
            <a:lvl2pPr>
              <a:lnSpc>
                <a:spcPts val="1400"/>
              </a:lnSpc>
              <a:spcAft>
                <a:spcPts val="0"/>
              </a:spcAft>
              <a:defRPr sz="1200"/>
            </a:lvl2pPr>
            <a:lvl3pPr>
              <a:lnSpc>
                <a:spcPts val="1400"/>
              </a:lnSpc>
              <a:spcAft>
                <a:spcPts val="0"/>
              </a:spcAft>
              <a:defRPr sz="1200"/>
            </a:lvl3pPr>
            <a:lvl4pPr>
              <a:lnSpc>
                <a:spcPts val="1400"/>
              </a:lnSpc>
              <a:spcAft>
                <a:spcPts val="0"/>
              </a:spcAft>
              <a:defRPr sz="1200"/>
            </a:lvl4pPr>
            <a:lvl5pPr>
              <a:lnSpc>
                <a:spcPts val="1400"/>
              </a:lnSpc>
              <a:spcAft>
                <a:spcPts val="0"/>
              </a:spcAft>
              <a:defRPr sz="1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D4C30F-00F2-4C78-A717-48103A4B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89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5136000" cy="4930056"/>
          </a:xfrm>
        </p:spPr>
        <p:txBody>
          <a:bodyPr/>
          <a:lstStyle>
            <a:lvl1pPr>
              <a:lnSpc>
                <a:spcPts val="2200"/>
              </a:lnSpc>
              <a:defRPr sz="2200"/>
            </a:lvl1pPr>
            <a:lvl2pPr>
              <a:lnSpc>
                <a:spcPts val="2200"/>
              </a:lnSpc>
              <a:defRPr sz="2200"/>
            </a:lvl2pPr>
            <a:lvl3pPr>
              <a:lnSpc>
                <a:spcPts val="2200"/>
              </a:lnSpc>
              <a:defRPr sz="2200"/>
            </a:lvl3pPr>
            <a:lvl4pPr>
              <a:lnSpc>
                <a:spcPts val="2200"/>
              </a:lnSpc>
              <a:defRPr sz="2200"/>
            </a:lvl4pPr>
            <a:lvl5pPr>
              <a:lnSpc>
                <a:spcPts val="2200"/>
              </a:lnSpc>
              <a:defRPr sz="2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363DB35D-5E89-453E-B92F-085C8480EA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37202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2627514"/>
            <a:ext cx="11398251" cy="367727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638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600"/>
            </a:lvl1pPr>
            <a:lvl2pPr>
              <a:lnSpc>
                <a:spcPts val="1920"/>
              </a:lnSpc>
              <a:spcAft>
                <a:spcPts val="0"/>
              </a:spcAft>
              <a:defRPr sz="1600"/>
            </a:lvl2pPr>
            <a:lvl3pPr>
              <a:lnSpc>
                <a:spcPts val="1920"/>
              </a:lnSpc>
              <a:spcAft>
                <a:spcPts val="0"/>
              </a:spcAft>
              <a:defRPr sz="1600"/>
            </a:lvl3pPr>
            <a:lvl4pPr>
              <a:lnSpc>
                <a:spcPts val="1920"/>
              </a:lnSpc>
              <a:spcAft>
                <a:spcPts val="0"/>
              </a:spcAft>
              <a:defRPr sz="1600"/>
            </a:lvl4pPr>
            <a:lvl5pPr>
              <a:lnSpc>
                <a:spcPts val="192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E175B27-6547-4F17-A8CA-FEDE4C65A6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31001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90057"/>
            <a:ext cx="446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400"/>
            </a:lvl1pPr>
            <a:lvl2pPr>
              <a:lnSpc>
                <a:spcPts val="1920"/>
              </a:lnSpc>
              <a:spcAft>
                <a:spcPts val="0"/>
              </a:spcAft>
              <a:defRPr sz="1400"/>
            </a:lvl2pPr>
            <a:lvl3pPr>
              <a:lnSpc>
                <a:spcPts val="1920"/>
              </a:lnSpc>
              <a:spcAft>
                <a:spcPts val="0"/>
              </a:spcAft>
              <a:defRPr sz="1400"/>
            </a:lvl3pPr>
            <a:lvl4pPr>
              <a:lnSpc>
                <a:spcPts val="1920"/>
              </a:lnSpc>
              <a:spcAft>
                <a:spcPts val="0"/>
              </a:spcAft>
              <a:defRPr sz="1400"/>
            </a:lvl4pPr>
            <a:lvl5pPr>
              <a:lnSpc>
                <a:spcPts val="1920"/>
              </a:lnSpc>
              <a:spcAft>
                <a:spcPts val="0"/>
              </a:spcAft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304051"/>
            <a:ext cx="3518597" cy="143016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200"/>
            </a:lvl1pPr>
            <a:lvl2pPr>
              <a:lnSpc>
                <a:spcPts val="1400"/>
              </a:lnSpc>
              <a:spcAft>
                <a:spcPts val="0"/>
              </a:spcAft>
              <a:defRPr sz="1200"/>
            </a:lvl2pPr>
            <a:lvl3pPr>
              <a:lnSpc>
                <a:spcPts val="1400"/>
              </a:lnSpc>
              <a:spcAft>
                <a:spcPts val="0"/>
              </a:spcAft>
              <a:defRPr sz="1200"/>
            </a:lvl3pPr>
            <a:lvl4pPr>
              <a:lnSpc>
                <a:spcPts val="1400"/>
              </a:lnSpc>
              <a:spcAft>
                <a:spcPts val="0"/>
              </a:spcAft>
              <a:defRPr sz="1200"/>
            </a:lvl4pPr>
            <a:lvl5pPr>
              <a:lnSpc>
                <a:spcPts val="1400"/>
              </a:lnSpc>
              <a:spcAft>
                <a:spcPts val="0"/>
              </a:spcAft>
              <a:defRPr sz="1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D4C30F-00F2-4C78-A717-48103A4B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1092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FF393-5875-4D84-B985-DAC576669214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EBB6E-78E0-4F4A-8999-57D5147BD0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571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8D97D04-000F-4C69-910B-E567126C3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72065" y="5210169"/>
            <a:ext cx="3742952" cy="12161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1C9276-31F6-4C7E-B446-A363A8A5B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2842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80F5D9-D588-4B28-8FF0-E9B1A06BD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20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80F5D9-D588-4B28-8FF0-E9B1A06BD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250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B6EB48-095D-4A73-A677-7161BB44F8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0974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3F4AD92-8288-4EC3-94FA-E4A82EBB8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97E1C86-D375-4AC9-BBA5-DDD8BECAA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930B95-05D5-409C-8B10-4D0695974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0342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865FA5-1782-4EAA-B8CF-F305439AD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5045827-D0B3-4116-B7AE-AC011BCB5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D60170-0252-4778-B085-20B0CD1877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0909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730045C-7EE2-4D40-8A65-0F99E126B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892C1D-4743-4071-8BF8-053B6D46C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0AB19A29-B637-4A72-9825-65E3CDD80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2650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8445115" cy="4930056"/>
          </a:xfrm>
        </p:spPr>
        <p:txBody>
          <a:bodyPr/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2200">
                <a:solidFill>
                  <a:schemeClr val="bg1"/>
                </a:solidFill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48F723-5030-4FA2-A27A-AA4DB3D329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B7B6655-7403-4C74-A251-EABF2635D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80E3C8-F1C3-4ADA-AE74-7A72710BA4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540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5600"/>
            <a:ext cx="11040532" cy="4930056"/>
          </a:xfrm>
        </p:spPr>
        <p:txBody>
          <a:bodyPr numCol="2" spcCol="288000"/>
          <a:lstStyle>
            <a:lvl1pPr marL="270000" indent="0">
              <a:lnSpc>
                <a:spcPts val="144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ts val="144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3632488-B73B-4F35-B333-2B1A967D9B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40C4BE-E81C-4229-94E3-80A220D5F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1CC76B-0AC6-4353-A54E-D32E75F17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2042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1pPr>
              <a:spcAft>
                <a:spcPts val="1200"/>
              </a:spcAft>
              <a:defRPr/>
            </a:lvl1pPr>
            <a:lvl2pPr marL="179388" indent="-179388"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5BF9D90-75A7-4258-ADAD-4BECF61CF1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871B2DA-F8B5-4112-BCE3-CFDA34BB0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6EC8F2CA-148C-4883-887D-80A7CFC2CB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2746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B530FFDC-955C-4366-B08F-12C9D409DC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4149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46907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46907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AF4BA06-8CF9-4BD6-9318-B16B2393B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930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37524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357947"/>
            <a:ext cx="7660216" cy="2058987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C02F3890-0815-45FA-8F1E-1140F6DC13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1581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B6EB48-095D-4A73-A677-7161BB44F8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4235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91856"/>
            <a:ext cx="5327761" cy="2158432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8509" y="1291856"/>
            <a:ext cx="5339964" cy="2137144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F5D73FA-30AA-487E-9D16-422D375804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519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46907"/>
            <a:ext cx="5118487" cy="4930056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329E653-B08C-4FDE-ADD3-028842FDA0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9665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5136000" cy="4930056"/>
          </a:xfrm>
        </p:spPr>
        <p:txBody>
          <a:bodyPr/>
          <a:lstStyle>
            <a:lvl1pPr>
              <a:lnSpc>
                <a:spcPts val="2200"/>
              </a:lnSpc>
              <a:defRPr sz="2200"/>
            </a:lvl1pPr>
            <a:lvl2pPr>
              <a:lnSpc>
                <a:spcPts val="2200"/>
              </a:lnSpc>
              <a:defRPr sz="2200"/>
            </a:lvl2pPr>
            <a:lvl3pPr>
              <a:lnSpc>
                <a:spcPts val="2200"/>
              </a:lnSpc>
              <a:defRPr sz="2200"/>
            </a:lvl3pPr>
            <a:lvl4pPr>
              <a:lnSpc>
                <a:spcPts val="2200"/>
              </a:lnSpc>
              <a:defRPr sz="2200"/>
            </a:lvl4pPr>
            <a:lvl5pPr>
              <a:lnSpc>
                <a:spcPts val="2200"/>
              </a:lnSpc>
              <a:defRPr sz="2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363DB35D-5E89-453E-B92F-085C8480EA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0785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2627514"/>
            <a:ext cx="11398251" cy="367727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638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600"/>
            </a:lvl1pPr>
            <a:lvl2pPr>
              <a:lnSpc>
                <a:spcPts val="1920"/>
              </a:lnSpc>
              <a:spcAft>
                <a:spcPts val="0"/>
              </a:spcAft>
              <a:defRPr sz="1600"/>
            </a:lvl2pPr>
            <a:lvl3pPr>
              <a:lnSpc>
                <a:spcPts val="1920"/>
              </a:lnSpc>
              <a:spcAft>
                <a:spcPts val="0"/>
              </a:spcAft>
              <a:defRPr sz="1600"/>
            </a:lvl3pPr>
            <a:lvl4pPr>
              <a:lnSpc>
                <a:spcPts val="1920"/>
              </a:lnSpc>
              <a:spcAft>
                <a:spcPts val="0"/>
              </a:spcAft>
              <a:defRPr sz="1600"/>
            </a:lvl4pPr>
            <a:lvl5pPr>
              <a:lnSpc>
                <a:spcPts val="192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E175B27-6547-4F17-A8CA-FEDE4C65A6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8347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90057"/>
            <a:ext cx="446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400"/>
            </a:lvl1pPr>
            <a:lvl2pPr>
              <a:lnSpc>
                <a:spcPts val="1920"/>
              </a:lnSpc>
              <a:spcAft>
                <a:spcPts val="0"/>
              </a:spcAft>
              <a:defRPr sz="1400"/>
            </a:lvl2pPr>
            <a:lvl3pPr>
              <a:lnSpc>
                <a:spcPts val="1920"/>
              </a:lnSpc>
              <a:spcAft>
                <a:spcPts val="0"/>
              </a:spcAft>
              <a:defRPr sz="1400"/>
            </a:lvl3pPr>
            <a:lvl4pPr>
              <a:lnSpc>
                <a:spcPts val="1920"/>
              </a:lnSpc>
              <a:spcAft>
                <a:spcPts val="0"/>
              </a:spcAft>
              <a:defRPr sz="1400"/>
            </a:lvl4pPr>
            <a:lvl5pPr>
              <a:lnSpc>
                <a:spcPts val="1920"/>
              </a:lnSpc>
              <a:spcAft>
                <a:spcPts val="0"/>
              </a:spcAft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304051"/>
            <a:ext cx="3518597" cy="143016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200"/>
            </a:lvl1pPr>
            <a:lvl2pPr>
              <a:lnSpc>
                <a:spcPts val="1400"/>
              </a:lnSpc>
              <a:spcAft>
                <a:spcPts val="0"/>
              </a:spcAft>
              <a:defRPr sz="1200"/>
            </a:lvl2pPr>
            <a:lvl3pPr>
              <a:lnSpc>
                <a:spcPts val="1400"/>
              </a:lnSpc>
              <a:spcAft>
                <a:spcPts val="0"/>
              </a:spcAft>
              <a:defRPr sz="1200"/>
            </a:lvl3pPr>
            <a:lvl4pPr>
              <a:lnSpc>
                <a:spcPts val="1400"/>
              </a:lnSpc>
              <a:spcAft>
                <a:spcPts val="0"/>
              </a:spcAft>
              <a:defRPr sz="1200"/>
            </a:lvl4pPr>
            <a:lvl5pPr>
              <a:lnSpc>
                <a:spcPts val="1400"/>
              </a:lnSpc>
              <a:spcAft>
                <a:spcPts val="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D4C30F-00F2-4C78-A717-48103A4B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3328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8D97D04-000F-4C69-910B-E567126C3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72065" y="5210169"/>
            <a:ext cx="3742952" cy="12161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1C9276-31F6-4C7E-B446-A363A8A5B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6441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80F5D9-D588-4B28-8FF0-E9B1A06BDB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4736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606523"/>
            <a:ext cx="7888076" cy="1050505"/>
          </a:xfrm>
        </p:spPr>
        <p:txBody>
          <a:bodyPr anchor="t"/>
          <a:lstStyle>
            <a:lvl1pPr algn="l">
              <a:lnSpc>
                <a:spcPts val="3600"/>
              </a:lnSpc>
              <a:defRPr sz="3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649904"/>
            <a:ext cx="7866856" cy="1050505"/>
          </a:xfrm>
        </p:spPr>
        <p:txBody>
          <a:bodyPr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B6EB48-095D-4A73-A677-7161BB44F8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1600" y="5209201"/>
            <a:ext cx="3742952" cy="127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5036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3F4AD92-8288-4EC3-94FA-E4A82EBB8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97E1C86-D375-4AC9-BBA5-DDD8BECAA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930B95-05D5-409C-8B10-4D0695974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9855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865FA5-1782-4EAA-B8CF-F305439AD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5045827-D0B3-4116-B7AE-AC011BCB5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D60170-0252-4778-B085-20B0CD1877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553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3F4AD92-8288-4EC3-94FA-E4A82EBB8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97E1C86-D375-4AC9-BBA5-DDD8BECAA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930B95-05D5-409C-8B10-4D0695974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0841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730045C-7EE2-4D40-8A65-0F99E126B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892C1D-4743-4071-8BF8-053B6D46C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0AB19A29-B637-4A72-9825-65E3CDD80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6823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8445115" cy="4930056"/>
          </a:xfrm>
        </p:spPr>
        <p:txBody>
          <a:bodyPr/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2200">
                <a:solidFill>
                  <a:schemeClr val="bg1"/>
                </a:solidFill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48F723-5030-4FA2-A27A-AA4DB3D329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B7B6655-7403-4C74-A251-EABF2635D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80E3C8-F1C3-4ADA-AE74-7A72710BA4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89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5600"/>
            <a:ext cx="11040532" cy="4930056"/>
          </a:xfrm>
        </p:spPr>
        <p:txBody>
          <a:bodyPr numCol="2" spcCol="288000"/>
          <a:lstStyle>
            <a:lvl1pPr marL="270000" indent="0">
              <a:lnSpc>
                <a:spcPts val="144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ts val="144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3632488-B73B-4F35-B333-2B1A967D9B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40C4BE-E81C-4229-94E3-80A220D5F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1CC76B-0AC6-4353-A54E-D32E75F17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531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1pPr>
              <a:spcAft>
                <a:spcPts val="1200"/>
              </a:spcAft>
              <a:defRPr/>
            </a:lvl1pPr>
            <a:lvl2pPr marL="179388" indent="-179388"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5BF9D90-75A7-4258-ADAD-4BECF61CF1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871B2DA-F8B5-4112-BCE3-CFDA34BB0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6EC8F2CA-148C-4883-887D-80A7CFC2CB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6710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B530FFDC-955C-4366-B08F-12C9D409DC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629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46907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46907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AF4BA06-8CF9-4BD6-9318-B16B2393B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6242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37524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357947"/>
            <a:ext cx="7660216" cy="2058987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C02F3890-0815-45FA-8F1E-1140F6DC13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6871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91856"/>
            <a:ext cx="5327761" cy="2158432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4545784-DA6F-4415-AA23-E8DDB87FEAD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88509" y="1291856"/>
            <a:ext cx="5339964" cy="2137144"/>
          </a:xfrm>
        </p:spPr>
        <p:txBody>
          <a:bodyPr/>
          <a:lstStyle>
            <a:lvl1pPr>
              <a:spcAft>
                <a:spcPts val="1200"/>
              </a:spcAft>
              <a:defRPr sz="1400" b="0"/>
            </a:lvl1pPr>
            <a:lvl2pPr>
              <a:spcAft>
                <a:spcPts val="1200"/>
              </a:spcAft>
              <a:defRPr sz="1400" b="0"/>
            </a:lvl2pPr>
            <a:lvl3pPr>
              <a:spcAft>
                <a:spcPts val="1200"/>
              </a:spcAft>
              <a:defRPr sz="1400" b="0"/>
            </a:lvl3pPr>
            <a:lvl4pPr>
              <a:spcAft>
                <a:spcPts val="1200"/>
              </a:spcAft>
              <a:defRPr sz="1400" b="0"/>
            </a:lvl4pPr>
            <a:lvl5pPr>
              <a:spcAft>
                <a:spcPts val="1200"/>
              </a:spcAft>
              <a:defRPr sz="1400"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F5D73FA-30AA-487E-9D16-422D375804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48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46907"/>
            <a:ext cx="5118487" cy="4930056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329E653-B08C-4FDE-ADD3-028842FDA0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239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5136000" cy="4930056"/>
          </a:xfrm>
        </p:spPr>
        <p:txBody>
          <a:bodyPr/>
          <a:lstStyle>
            <a:lvl1pPr>
              <a:lnSpc>
                <a:spcPts val="2200"/>
              </a:lnSpc>
              <a:defRPr sz="2200"/>
            </a:lvl1pPr>
            <a:lvl2pPr>
              <a:lnSpc>
                <a:spcPts val="2200"/>
              </a:lnSpc>
              <a:defRPr sz="2200"/>
            </a:lvl2pPr>
            <a:lvl3pPr>
              <a:lnSpc>
                <a:spcPts val="2200"/>
              </a:lnSpc>
              <a:defRPr sz="2200"/>
            </a:lvl3pPr>
            <a:lvl4pPr>
              <a:lnSpc>
                <a:spcPts val="2200"/>
              </a:lnSpc>
              <a:defRPr sz="2200"/>
            </a:lvl4pPr>
            <a:lvl5pPr>
              <a:lnSpc>
                <a:spcPts val="2200"/>
              </a:lnSpc>
              <a:defRPr sz="2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363DB35D-5E89-453E-B92F-085C8480EA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9749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181328"/>
            <a:ext cx="7888076" cy="1430480"/>
          </a:xfrm>
        </p:spPr>
        <p:txBody>
          <a:bodyPr anchor="t"/>
          <a:lstStyle>
            <a:lvl1pPr algn="l">
              <a:lnSpc>
                <a:spcPts val="48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11809"/>
            <a:ext cx="7888076" cy="648000"/>
          </a:xfrm>
        </p:spPr>
        <p:txBody>
          <a:bodyPr/>
          <a:lstStyle>
            <a:lvl1pPr marL="0" indent="0" algn="l">
              <a:lnSpc>
                <a:spcPts val="21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865FA5-1782-4EAA-B8CF-F305439ADB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5045827-D0B3-4116-B7AE-AC011BCB5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D60170-0252-4778-B085-20B0CD1877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5099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2627514"/>
            <a:ext cx="11398251" cy="367727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46907"/>
            <a:ext cx="638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600"/>
            </a:lvl1pPr>
            <a:lvl2pPr>
              <a:lnSpc>
                <a:spcPts val="1920"/>
              </a:lnSpc>
              <a:spcAft>
                <a:spcPts val="0"/>
              </a:spcAft>
              <a:defRPr sz="1600"/>
            </a:lvl2pPr>
            <a:lvl3pPr>
              <a:lnSpc>
                <a:spcPts val="1920"/>
              </a:lnSpc>
              <a:spcAft>
                <a:spcPts val="0"/>
              </a:spcAft>
              <a:defRPr sz="1600"/>
            </a:lvl3pPr>
            <a:lvl4pPr>
              <a:lnSpc>
                <a:spcPts val="1920"/>
              </a:lnSpc>
              <a:spcAft>
                <a:spcPts val="0"/>
              </a:spcAft>
              <a:defRPr sz="1600"/>
            </a:lvl4pPr>
            <a:lvl5pPr>
              <a:lnSpc>
                <a:spcPts val="192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E175B27-6547-4F17-A8CA-FEDE4C65A6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116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90057"/>
            <a:ext cx="4464000" cy="2024154"/>
          </a:xfrm>
        </p:spPr>
        <p:txBody>
          <a:bodyPr/>
          <a:lstStyle>
            <a:lvl1pPr>
              <a:lnSpc>
                <a:spcPts val="1920"/>
              </a:lnSpc>
              <a:spcAft>
                <a:spcPts val="0"/>
              </a:spcAft>
              <a:defRPr sz="1400"/>
            </a:lvl1pPr>
            <a:lvl2pPr>
              <a:lnSpc>
                <a:spcPts val="1920"/>
              </a:lnSpc>
              <a:spcAft>
                <a:spcPts val="0"/>
              </a:spcAft>
              <a:defRPr sz="1400"/>
            </a:lvl2pPr>
            <a:lvl3pPr>
              <a:lnSpc>
                <a:spcPts val="1920"/>
              </a:lnSpc>
              <a:spcAft>
                <a:spcPts val="0"/>
              </a:spcAft>
              <a:defRPr sz="1400"/>
            </a:lvl3pPr>
            <a:lvl4pPr>
              <a:lnSpc>
                <a:spcPts val="1920"/>
              </a:lnSpc>
              <a:spcAft>
                <a:spcPts val="0"/>
              </a:spcAft>
              <a:defRPr sz="1400"/>
            </a:lvl4pPr>
            <a:lvl5pPr>
              <a:lnSpc>
                <a:spcPts val="1920"/>
              </a:lnSpc>
              <a:spcAft>
                <a:spcPts val="0"/>
              </a:spcAft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6DBBFAA-AD72-4222-A409-007C09DEDA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EB6175-D008-410B-A557-726F5F13D8E9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304051"/>
            <a:ext cx="3518597" cy="143016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200"/>
            </a:lvl1pPr>
            <a:lvl2pPr>
              <a:lnSpc>
                <a:spcPts val="1400"/>
              </a:lnSpc>
              <a:spcAft>
                <a:spcPts val="0"/>
              </a:spcAft>
              <a:defRPr sz="1200"/>
            </a:lvl2pPr>
            <a:lvl3pPr>
              <a:lnSpc>
                <a:spcPts val="1400"/>
              </a:lnSpc>
              <a:spcAft>
                <a:spcPts val="0"/>
              </a:spcAft>
              <a:defRPr sz="1200"/>
            </a:lvl3pPr>
            <a:lvl4pPr>
              <a:lnSpc>
                <a:spcPts val="1400"/>
              </a:lnSpc>
              <a:spcAft>
                <a:spcPts val="0"/>
              </a:spcAft>
              <a:defRPr sz="1200"/>
            </a:lvl4pPr>
            <a:lvl5pPr>
              <a:lnSpc>
                <a:spcPts val="1400"/>
              </a:lnSpc>
              <a:spcAft>
                <a:spcPts val="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D4C30F-00F2-4C78-A717-48103A4B1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170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3973"/>
            <a:ext cx="7888076" cy="1050505"/>
          </a:xfrm>
        </p:spPr>
        <p:txBody>
          <a:bodyPr anchor="t"/>
          <a:lstStyle>
            <a:lvl1pPr algn="l" rtl="0">
              <a:lnSpc>
                <a:spcPct val="100000"/>
              </a:lnSpc>
              <a:defRPr sz="36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4F964C76-526C-487A-999E-0FDAE214CE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4789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2801"/>
            <a:ext cx="7888076" cy="1050505"/>
          </a:xfrm>
        </p:spPr>
        <p:txBody>
          <a:bodyPr anchor="t"/>
          <a:lstStyle>
            <a:lvl1pPr algn="l">
              <a:lnSpc>
                <a:spcPct val="100000"/>
              </a:lnSpc>
              <a:defRPr sz="36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56F4347D-58F3-4628-9916-1246FD9E73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1993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2801"/>
            <a:ext cx="7888076" cy="1050505"/>
          </a:xfrm>
        </p:spPr>
        <p:txBody>
          <a:bodyPr anchor="t"/>
          <a:lstStyle>
            <a:lvl1pPr algn="l">
              <a:lnSpc>
                <a:spcPct val="100000"/>
              </a:lnSpc>
              <a:defRPr sz="36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940702F7-3A37-4BC5-A779-C05B0C684B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7121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067028"/>
            <a:ext cx="7888076" cy="1430480"/>
          </a:xfrm>
        </p:spPr>
        <p:txBody>
          <a:bodyPr anchor="t"/>
          <a:lstStyle>
            <a:lvl1pPr algn="l">
              <a:lnSpc>
                <a:spcPct val="1000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84400"/>
            <a:ext cx="7888076" cy="648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C376C99-63A2-4F75-A71F-CC3ACBF713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8D63F3A-618E-458A-B7DF-6384A180D5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0597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068000"/>
            <a:ext cx="7888076" cy="1430480"/>
          </a:xfrm>
        </p:spPr>
        <p:txBody>
          <a:bodyPr anchor="t"/>
          <a:lstStyle>
            <a:lvl1pPr algn="l">
              <a:lnSpc>
                <a:spcPct val="1000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84400"/>
            <a:ext cx="7888076" cy="648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A97E3A6-DE46-42DB-A31C-FD745DDCBA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AFE3D4EC-AAF8-4A6F-AB16-9D7BD44C35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9923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57F351-6D8A-4649-BC57-85F24A012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41067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/>
          <a:lstStyle>
            <a:lvl1pPr>
              <a:spcAft>
                <a:spcPts val="1000"/>
              </a:spcAft>
              <a:defRPr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0B8FF69-AA07-4159-B516-55528A40B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2FD3F55A-70FD-4004-BCC5-26C5D4B971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7646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58C3740-D81F-4499-86C1-03F0735DA0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>
                <a:solidFill>
                  <a:schemeClr val="bg1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8445115" cy="4930056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9F0D83-3B5A-47A1-8143-16321664D343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7240DD9-58C3-4AB4-AF9C-FDAB7DF77A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0A5FA4A-0550-4314-B066-58C946E06E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965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313201"/>
            <a:ext cx="11036299" cy="529555"/>
          </a:xfrm>
        </p:spPr>
        <p:txBody>
          <a:bodyPr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/>
          <a:lstStyle>
            <a:lvl1pPr marL="270000" indent="0">
              <a:lnSpc>
                <a:spcPct val="10000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0207427-9951-4F2D-8CFB-2E70102F5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DCE22CE0-5B78-4DED-BBC3-49FB97EE3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746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730045C-7EE2-4D40-8A65-0F99E126B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892C1D-4743-4071-8BF8-053B6D46C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0AB19A29-B637-4A72-9825-65E3CDD80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1266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 rtlCol="0"/>
          <a:lstStyle>
            <a:lvl1pPr>
              <a:spcAft>
                <a:spcPts val="1000"/>
              </a:spcAft>
              <a:defRPr/>
            </a:lvl1pPr>
            <a:lvl2pPr marL="179388" indent="-179388"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205E4C-6184-4E72-BC76-9A3CEFED65C5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2947BA-DEEB-4260-AAFB-8E78E2D7E7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CA269C4-1D23-44B5-9EEB-A9FF77C0D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91519290-EBFB-4A94-A523-F9ED918D1B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4026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11996A1-5439-4F67-8275-2118E1C9D61D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D5E396D-BACB-4E6F-9FE7-DD529EC2BD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4A8C64B-EDF3-47E5-9A99-19F475CE91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3BC69877-AB38-4AE3-A81B-7947DEC55D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7797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34800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34800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2DE79-CB72-4FDC-8AF5-48BFE4B5E58C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1ABA89F-6967-4891-BBC9-B97467E263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008D794-E52E-415D-A590-7A57C2F8C9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5914E27-6E0C-4EE5-8C41-FB9CE3FF2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2480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234800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234801"/>
            <a:ext cx="7660216" cy="205898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endParaRPr lang="en-GB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DDF77F2-0CA7-4DA8-AE18-3D66CE3B9CFA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142342A-2050-4AC7-BD2F-624CFBC0FD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6C54B936-0E70-4559-B5DD-6DE558FF1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F9FA9EE0-0E9B-4AC0-9AED-1BFC68EFD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7752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34800"/>
            <a:ext cx="11052740" cy="2158432"/>
          </a:xfrm>
        </p:spPr>
        <p:txBody>
          <a:bodyPr numCol="2" spcCol="288000"/>
          <a:lstStyle>
            <a:lvl1pPr>
              <a:spcAft>
                <a:spcPts val="1000"/>
              </a:spcAft>
              <a:defRPr sz="1400" b="0"/>
            </a:lvl1pPr>
            <a:lvl2pPr>
              <a:spcAft>
                <a:spcPts val="1000"/>
              </a:spcAft>
              <a:defRPr sz="1400" b="0"/>
            </a:lvl2pPr>
            <a:lvl3pPr>
              <a:spcAft>
                <a:spcPts val="1000"/>
              </a:spcAft>
              <a:defRPr sz="1400" b="0"/>
            </a:lvl3pPr>
            <a:lvl4pPr>
              <a:spcAft>
                <a:spcPts val="1000"/>
              </a:spcAft>
              <a:defRPr sz="1400" b="0"/>
            </a:lvl4pPr>
            <a:lvl5pPr>
              <a:spcAft>
                <a:spcPts val="1000"/>
              </a:spcAft>
              <a:defRPr sz="14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DF982DF-366D-43A8-895B-BE8FEC06843F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34D1F61-0F4B-4F89-8921-A32DEDB172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1D7B394-5C8B-448E-8211-388536ABC3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37018E68-DE00-4F0B-9185-8286938F9E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824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34800"/>
            <a:ext cx="5118487" cy="4930056"/>
          </a:xfrm>
        </p:spPr>
        <p:txBody>
          <a:bodyPr/>
          <a:lstStyle>
            <a:lvl1pPr>
              <a:spcAft>
                <a:spcPts val="1000"/>
              </a:spcAft>
              <a:defRPr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2AE663D-18E3-4214-A8EC-8724C96010B4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0D8D7C4-2072-4966-B25B-FD30964741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5197" y="313200"/>
            <a:ext cx="11040532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B987E93-5B92-41DF-BF44-1AAE7F8766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18F7B234-BF36-4B7C-9BE7-139F7CD90B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665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21015"/>
            <a:ext cx="5136000" cy="4930056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 sz="1900"/>
            </a:lvl1pPr>
            <a:lvl2pPr>
              <a:lnSpc>
                <a:spcPct val="100000"/>
              </a:lnSpc>
              <a:spcAft>
                <a:spcPts val="1000"/>
              </a:spcAft>
              <a:defRPr sz="1900"/>
            </a:lvl2pPr>
            <a:lvl3pPr>
              <a:lnSpc>
                <a:spcPct val="100000"/>
              </a:lnSpc>
              <a:spcAft>
                <a:spcPts val="1000"/>
              </a:spcAft>
              <a:defRPr sz="1900"/>
            </a:lvl3pPr>
            <a:lvl4pPr>
              <a:lnSpc>
                <a:spcPct val="100000"/>
              </a:lnSpc>
              <a:spcAft>
                <a:spcPts val="1000"/>
              </a:spcAft>
              <a:defRPr sz="1900"/>
            </a:lvl4pPr>
            <a:lvl5pPr>
              <a:lnSpc>
                <a:spcPct val="100000"/>
              </a:lnSpc>
              <a:spcAft>
                <a:spcPts val="1000"/>
              </a:spcAft>
              <a:defRPr sz="1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13DF0F-5873-49AF-9208-39854D61C90D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A0AD0A5-224F-4C9B-9A27-D9C0E5E71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2708CC-01EC-4CF0-8C61-BC51F1190D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BAD7C1D-95A6-4122-89D2-98CC016E40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78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1306288"/>
            <a:ext cx="11040532" cy="49985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34800"/>
            <a:ext cx="5520000" cy="2024154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 sz="1400"/>
            </a:lvl1pPr>
            <a:lvl2pPr>
              <a:lnSpc>
                <a:spcPct val="100000"/>
              </a:lnSpc>
              <a:spcAft>
                <a:spcPts val="1000"/>
              </a:spcAft>
              <a:defRPr sz="1400"/>
            </a:lvl2pPr>
            <a:lvl3pPr>
              <a:lnSpc>
                <a:spcPct val="100000"/>
              </a:lnSpc>
              <a:spcAft>
                <a:spcPts val="1000"/>
              </a:spcAft>
              <a:defRPr sz="1400"/>
            </a:lvl3pPr>
            <a:lvl4pPr>
              <a:lnSpc>
                <a:spcPct val="100000"/>
              </a:lnSpc>
              <a:spcAft>
                <a:spcPts val="1000"/>
              </a:spcAft>
              <a:defRPr sz="1400"/>
            </a:lvl4pPr>
            <a:lvl5pPr>
              <a:lnSpc>
                <a:spcPct val="100000"/>
              </a:lnSpc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ED3A4B6-3484-43F3-860D-793187396B3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49E9801-F1B9-4C57-A25B-2CFE611C42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4559B67-857E-42A8-B029-16972D90E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0FC7BE36-0DF7-467A-AF41-D83F4CA506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4934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34800"/>
            <a:ext cx="4464000" cy="202415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/>
            </a:lvl1pPr>
            <a:lvl2pPr marL="0" indent="0">
              <a:lnSpc>
                <a:spcPct val="100000"/>
              </a:lnSpc>
              <a:spcAft>
                <a:spcPts val="800"/>
              </a:spcAft>
              <a:buNone/>
              <a:defRPr sz="1400"/>
            </a:lvl2pPr>
            <a:lvl3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sz="1400"/>
            </a:lvl3pPr>
            <a:lvl4pPr>
              <a:lnSpc>
                <a:spcPct val="100000"/>
              </a:lnSpc>
              <a:spcAft>
                <a:spcPts val="800"/>
              </a:spcAft>
              <a:defRPr sz="1400"/>
            </a:lvl4pPr>
            <a:lvl5pPr>
              <a:lnSpc>
                <a:spcPct val="100000"/>
              </a:lnSpc>
              <a:spcAft>
                <a:spcPts val="8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278651"/>
            <a:ext cx="3518597" cy="143016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1"/>
            </a:lvl1pPr>
            <a:lvl2pPr marL="0" indent="0">
              <a:lnSpc>
                <a:spcPct val="100000"/>
              </a:lnSpc>
              <a:spcAft>
                <a:spcPts val="800"/>
              </a:spcAft>
              <a:buNone/>
              <a:defRPr sz="1200"/>
            </a:lvl2pPr>
            <a:lvl3pPr marL="171450" indent="-1714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sz="1200"/>
            </a:lvl3pPr>
            <a:lvl4pPr>
              <a:lnSpc>
                <a:spcPct val="100000"/>
              </a:lnSpc>
              <a:spcAft>
                <a:spcPts val="800"/>
              </a:spcAft>
              <a:defRPr sz="1200"/>
            </a:lvl4pPr>
            <a:lvl5pPr>
              <a:lnSpc>
                <a:spcPct val="100000"/>
              </a:lnSpc>
              <a:spcAft>
                <a:spcPts val="8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936DAE-312D-4B83-8B89-5E61561677D5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3C0FF2E-6A98-4868-8ACD-921A0ADEA5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88CAC6A-E4A6-43F4-A73D-06A3C4168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B487DED2-3BF9-49DE-A188-1477B6DA9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1788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7809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8445115" cy="4930056"/>
          </a:xfrm>
        </p:spPr>
        <p:txBody>
          <a:bodyPr/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2200">
                <a:solidFill>
                  <a:schemeClr val="bg1"/>
                </a:solidFill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48F723-5030-4FA2-A27A-AA4DB3D329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B7B6655-7403-4C74-A251-EABF2635D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80E3C8-F1C3-4ADA-AE74-7A72710BA4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0664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3973"/>
            <a:ext cx="7888076" cy="1050505"/>
          </a:xfrm>
        </p:spPr>
        <p:txBody>
          <a:bodyPr anchor="t"/>
          <a:lstStyle>
            <a:lvl1pPr algn="l" rtl="0">
              <a:lnSpc>
                <a:spcPct val="100000"/>
              </a:lnSpc>
              <a:defRPr sz="36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4F964C76-526C-487A-999E-0FDAE214CE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6850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2801"/>
            <a:ext cx="7888076" cy="1050505"/>
          </a:xfrm>
        </p:spPr>
        <p:txBody>
          <a:bodyPr anchor="t"/>
          <a:lstStyle>
            <a:lvl1pPr algn="l">
              <a:lnSpc>
                <a:spcPct val="100000"/>
              </a:lnSpc>
              <a:defRPr sz="36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56F4347D-58F3-4628-9916-1246FD9E73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21698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2801"/>
            <a:ext cx="7888076" cy="1050505"/>
          </a:xfrm>
        </p:spPr>
        <p:txBody>
          <a:bodyPr anchor="t"/>
          <a:lstStyle>
            <a:lvl1pPr algn="l">
              <a:lnSpc>
                <a:spcPct val="100000"/>
              </a:lnSpc>
              <a:defRPr sz="36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940702F7-3A37-4BC5-A779-C05B0C684B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0634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067028"/>
            <a:ext cx="7888076" cy="1430480"/>
          </a:xfrm>
        </p:spPr>
        <p:txBody>
          <a:bodyPr anchor="t"/>
          <a:lstStyle>
            <a:lvl1pPr algn="l">
              <a:lnSpc>
                <a:spcPct val="1000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84400"/>
            <a:ext cx="7888076" cy="648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C376C99-63A2-4F75-A71F-CC3ACBF713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8D63F3A-618E-458A-B7DF-6384A180D5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73264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068000"/>
            <a:ext cx="7888076" cy="1430480"/>
          </a:xfrm>
        </p:spPr>
        <p:txBody>
          <a:bodyPr anchor="t"/>
          <a:lstStyle>
            <a:lvl1pPr algn="l">
              <a:lnSpc>
                <a:spcPct val="1000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84400"/>
            <a:ext cx="7888076" cy="648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A97E3A6-DE46-42DB-A31C-FD745DDCBA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AFE3D4EC-AAF8-4A6F-AB16-9D7BD44C35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0223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57F351-6D8A-4649-BC57-85F24A012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41067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/>
          <a:lstStyle>
            <a:lvl1pPr>
              <a:spcAft>
                <a:spcPts val="1000"/>
              </a:spcAft>
              <a:defRPr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0B8FF69-AA07-4159-B516-55528A40B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2FD3F55A-70FD-4004-BCC5-26C5D4B971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25913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58C3740-D81F-4499-86C1-03F0735DA0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>
                <a:solidFill>
                  <a:schemeClr val="bg1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8445115" cy="4930056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9F0D83-3B5A-47A1-8143-16321664D343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7240DD9-58C3-4AB4-AF9C-FDAB7DF77A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0A5FA4A-0550-4314-B066-58C946E06E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5313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313201"/>
            <a:ext cx="11036299" cy="529555"/>
          </a:xfrm>
        </p:spPr>
        <p:txBody>
          <a:bodyPr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/>
          <a:lstStyle>
            <a:lvl1pPr marL="270000" indent="0">
              <a:lnSpc>
                <a:spcPct val="10000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0207427-9951-4F2D-8CFB-2E70102F5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DCE22CE0-5B78-4DED-BBC3-49FB97EE3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2080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 rtlCol="0"/>
          <a:lstStyle>
            <a:lvl1pPr>
              <a:spcAft>
                <a:spcPts val="1000"/>
              </a:spcAft>
              <a:defRPr/>
            </a:lvl1pPr>
            <a:lvl2pPr marL="179388" indent="-179388"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205E4C-6184-4E72-BC76-9A3CEFED65C5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2947BA-DEEB-4260-AAFB-8E78E2D7E7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CA269C4-1D23-44B5-9EEB-A9FF77C0D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91519290-EBFB-4A94-A523-F9ED918D1B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92566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11996A1-5439-4F67-8275-2118E1C9D61D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D5E396D-BACB-4E6F-9FE7-DD529EC2BD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4A8C64B-EDF3-47E5-9A99-19F475CE91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3BC69877-AB38-4AE3-A81B-7947DEC55D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294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5600"/>
            <a:ext cx="11040532" cy="4930056"/>
          </a:xfrm>
        </p:spPr>
        <p:txBody>
          <a:bodyPr numCol="2" spcCol="288000"/>
          <a:lstStyle>
            <a:lvl1pPr marL="270000" indent="0">
              <a:lnSpc>
                <a:spcPts val="144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ts val="144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3632488-B73B-4F35-B333-2B1A967D9B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title here | Month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40C4BE-E81C-4229-94E3-80A220D5F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1CC76B-0AC6-4353-A54E-D32E75F17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4827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34800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34800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2DE79-CB72-4FDC-8AF5-48BFE4B5E58C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1ABA89F-6967-4891-BBC9-B97467E263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008D794-E52E-415D-A590-7A57C2F8C9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5914E27-6E0C-4EE5-8C41-FB9CE3FF2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0544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234800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234801"/>
            <a:ext cx="7660216" cy="205898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endParaRPr lang="en-GB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DDF77F2-0CA7-4DA8-AE18-3D66CE3B9CFA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142342A-2050-4AC7-BD2F-624CFBC0FD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6C54B936-0E70-4559-B5DD-6DE558FF1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F9FA9EE0-0E9B-4AC0-9AED-1BFC68EFD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6137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34800"/>
            <a:ext cx="11052740" cy="2158432"/>
          </a:xfrm>
        </p:spPr>
        <p:txBody>
          <a:bodyPr numCol="2" spcCol="288000"/>
          <a:lstStyle>
            <a:lvl1pPr>
              <a:spcAft>
                <a:spcPts val="1000"/>
              </a:spcAft>
              <a:defRPr sz="1400" b="0"/>
            </a:lvl1pPr>
            <a:lvl2pPr>
              <a:spcAft>
                <a:spcPts val="1000"/>
              </a:spcAft>
              <a:defRPr sz="1400" b="0"/>
            </a:lvl2pPr>
            <a:lvl3pPr>
              <a:spcAft>
                <a:spcPts val="1000"/>
              </a:spcAft>
              <a:defRPr sz="1400" b="0"/>
            </a:lvl3pPr>
            <a:lvl4pPr>
              <a:spcAft>
                <a:spcPts val="1000"/>
              </a:spcAft>
              <a:defRPr sz="1400" b="0"/>
            </a:lvl4pPr>
            <a:lvl5pPr>
              <a:spcAft>
                <a:spcPts val="1000"/>
              </a:spcAft>
              <a:defRPr sz="14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A9DD25-B80A-40A1-8EB9-F961D1FD1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172" y="3960000"/>
            <a:ext cx="2782483" cy="1711476"/>
          </a:xfrm>
          <a:custGeom>
            <a:avLst/>
            <a:gdLst>
              <a:gd name="connsiteX0" fmla="*/ 0 w 1586204"/>
              <a:gd name="connsiteY0" fmla="*/ 794968 h 1589936"/>
              <a:gd name="connsiteX1" fmla="*/ 793102 w 1586204"/>
              <a:gd name="connsiteY1" fmla="*/ 0 h 1589936"/>
              <a:gd name="connsiteX2" fmla="*/ 1586204 w 1586204"/>
              <a:gd name="connsiteY2" fmla="*/ 794968 h 1589936"/>
              <a:gd name="connsiteX3" fmla="*/ 793102 w 1586204"/>
              <a:gd name="connsiteY3" fmla="*/ 1589936 h 1589936"/>
              <a:gd name="connsiteX4" fmla="*/ 0 w 1586204"/>
              <a:gd name="connsiteY4" fmla="*/ 794968 h 1589936"/>
              <a:gd name="connsiteX0" fmla="*/ 0 w 1683259"/>
              <a:gd name="connsiteY0" fmla="*/ 794968 h 1590215"/>
              <a:gd name="connsiteX1" fmla="*/ 793102 w 1683259"/>
              <a:gd name="connsiteY1" fmla="*/ 0 h 1590215"/>
              <a:gd name="connsiteX2" fmla="*/ 1586204 w 1683259"/>
              <a:gd name="connsiteY2" fmla="*/ 794968 h 1590215"/>
              <a:gd name="connsiteX3" fmla="*/ 1582472 w 1683259"/>
              <a:gd name="connsiteY3" fmla="*/ 884542 h 1590215"/>
              <a:gd name="connsiteX4" fmla="*/ 793102 w 1683259"/>
              <a:gd name="connsiteY4" fmla="*/ 1589936 h 1590215"/>
              <a:gd name="connsiteX5" fmla="*/ 0 w 1683259"/>
              <a:gd name="connsiteY5" fmla="*/ 794968 h 1590215"/>
              <a:gd name="connsiteX0" fmla="*/ 0 w 1918375"/>
              <a:gd name="connsiteY0" fmla="*/ 794968 h 1590210"/>
              <a:gd name="connsiteX1" fmla="*/ 793102 w 1918375"/>
              <a:gd name="connsiteY1" fmla="*/ 0 h 1590210"/>
              <a:gd name="connsiteX2" fmla="*/ 1586204 w 1918375"/>
              <a:gd name="connsiteY2" fmla="*/ 794968 h 1590210"/>
              <a:gd name="connsiteX3" fmla="*/ 1918374 w 1918375"/>
              <a:gd name="connsiteY3" fmla="*/ 832290 h 1590210"/>
              <a:gd name="connsiteX4" fmla="*/ 1582472 w 1918375"/>
              <a:gd name="connsiteY4" fmla="*/ 884542 h 1590210"/>
              <a:gd name="connsiteX5" fmla="*/ 793102 w 1918375"/>
              <a:gd name="connsiteY5" fmla="*/ 1589936 h 1590210"/>
              <a:gd name="connsiteX6" fmla="*/ 0 w 1918375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66651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33304"/>
              <a:gd name="connsiteY0" fmla="*/ 794968 h 1590210"/>
              <a:gd name="connsiteX1" fmla="*/ 793102 w 1933304"/>
              <a:gd name="connsiteY1" fmla="*/ 0 h 1590210"/>
              <a:gd name="connsiteX2" fmla="*/ 1586204 w 1933304"/>
              <a:gd name="connsiteY2" fmla="*/ 794968 h 1590210"/>
              <a:gd name="connsiteX3" fmla="*/ 1933303 w 1933304"/>
              <a:gd name="connsiteY3" fmla="*/ 955454 h 1590210"/>
              <a:gd name="connsiteX4" fmla="*/ 1582472 w 1933304"/>
              <a:gd name="connsiteY4" fmla="*/ 884542 h 1590210"/>
              <a:gd name="connsiteX5" fmla="*/ 793102 w 1933304"/>
              <a:gd name="connsiteY5" fmla="*/ 1589936 h 1590210"/>
              <a:gd name="connsiteX6" fmla="*/ 0 w 1933304"/>
              <a:gd name="connsiteY6" fmla="*/ 794968 h 1590210"/>
              <a:gd name="connsiteX0" fmla="*/ 0 w 1948233"/>
              <a:gd name="connsiteY0" fmla="*/ 794968 h 1590210"/>
              <a:gd name="connsiteX1" fmla="*/ 793102 w 1948233"/>
              <a:gd name="connsiteY1" fmla="*/ 0 h 1590210"/>
              <a:gd name="connsiteX2" fmla="*/ 1586204 w 1948233"/>
              <a:gd name="connsiteY2" fmla="*/ 794968 h 1590210"/>
              <a:gd name="connsiteX3" fmla="*/ 1948232 w 1948233"/>
              <a:gd name="connsiteY3" fmla="*/ 947989 h 1590210"/>
              <a:gd name="connsiteX4" fmla="*/ 1582472 w 1948233"/>
              <a:gd name="connsiteY4" fmla="*/ 884542 h 1590210"/>
              <a:gd name="connsiteX5" fmla="*/ 793102 w 1948233"/>
              <a:gd name="connsiteY5" fmla="*/ 1589936 h 1590210"/>
              <a:gd name="connsiteX6" fmla="*/ 0 w 1948233"/>
              <a:gd name="connsiteY6" fmla="*/ 794968 h 1590210"/>
              <a:gd name="connsiteX0" fmla="*/ 0 w 1948233"/>
              <a:gd name="connsiteY0" fmla="*/ 794968 h 1590364"/>
              <a:gd name="connsiteX1" fmla="*/ 793102 w 1948233"/>
              <a:gd name="connsiteY1" fmla="*/ 0 h 1590364"/>
              <a:gd name="connsiteX2" fmla="*/ 1586204 w 1948233"/>
              <a:gd name="connsiteY2" fmla="*/ 794968 h 1590364"/>
              <a:gd name="connsiteX3" fmla="*/ 1948232 w 1948233"/>
              <a:gd name="connsiteY3" fmla="*/ 947989 h 1590364"/>
              <a:gd name="connsiteX4" fmla="*/ 1582472 w 1948233"/>
              <a:gd name="connsiteY4" fmla="*/ 884542 h 1590364"/>
              <a:gd name="connsiteX5" fmla="*/ 793102 w 1948233"/>
              <a:gd name="connsiteY5" fmla="*/ 1589936 h 1590364"/>
              <a:gd name="connsiteX6" fmla="*/ 0 w 1948233"/>
              <a:gd name="connsiteY6" fmla="*/ 794968 h 1590364"/>
              <a:gd name="connsiteX0" fmla="*/ 0 w 1948233"/>
              <a:gd name="connsiteY0" fmla="*/ 794968 h 1589964"/>
              <a:gd name="connsiteX1" fmla="*/ 793102 w 1948233"/>
              <a:gd name="connsiteY1" fmla="*/ 0 h 1589964"/>
              <a:gd name="connsiteX2" fmla="*/ 1586204 w 1948233"/>
              <a:gd name="connsiteY2" fmla="*/ 794968 h 1589964"/>
              <a:gd name="connsiteX3" fmla="*/ 1948232 w 1948233"/>
              <a:gd name="connsiteY3" fmla="*/ 947989 h 1589964"/>
              <a:gd name="connsiteX4" fmla="*/ 1582472 w 1948233"/>
              <a:gd name="connsiteY4" fmla="*/ 884542 h 1589964"/>
              <a:gd name="connsiteX5" fmla="*/ 793102 w 1948233"/>
              <a:gd name="connsiteY5" fmla="*/ 1589936 h 1589964"/>
              <a:gd name="connsiteX6" fmla="*/ 0 w 1948233"/>
              <a:gd name="connsiteY6" fmla="*/ 794968 h 1589964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3"/>
              <a:gd name="connsiteY0" fmla="*/ 794968 h 1589966"/>
              <a:gd name="connsiteX1" fmla="*/ 793102 w 1948233"/>
              <a:gd name="connsiteY1" fmla="*/ 0 h 1589966"/>
              <a:gd name="connsiteX2" fmla="*/ 1586204 w 1948233"/>
              <a:gd name="connsiteY2" fmla="*/ 794968 h 1589966"/>
              <a:gd name="connsiteX3" fmla="*/ 1948232 w 1948233"/>
              <a:gd name="connsiteY3" fmla="*/ 947989 h 1589966"/>
              <a:gd name="connsiteX4" fmla="*/ 1582472 w 1948233"/>
              <a:gd name="connsiteY4" fmla="*/ 884542 h 1589966"/>
              <a:gd name="connsiteX5" fmla="*/ 793102 w 1948233"/>
              <a:gd name="connsiteY5" fmla="*/ 1589936 h 1589966"/>
              <a:gd name="connsiteX6" fmla="*/ 0 w 1948233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48234"/>
              <a:gd name="connsiteY0" fmla="*/ 794968 h 1589966"/>
              <a:gd name="connsiteX1" fmla="*/ 793102 w 1948234"/>
              <a:gd name="connsiteY1" fmla="*/ 0 h 1589966"/>
              <a:gd name="connsiteX2" fmla="*/ 1586204 w 1948234"/>
              <a:gd name="connsiteY2" fmla="*/ 794968 h 1589966"/>
              <a:gd name="connsiteX3" fmla="*/ 1948232 w 1948234"/>
              <a:gd name="connsiteY3" fmla="*/ 947989 h 1589966"/>
              <a:gd name="connsiteX4" fmla="*/ 1582472 w 1948234"/>
              <a:gd name="connsiteY4" fmla="*/ 884542 h 1589966"/>
              <a:gd name="connsiteX5" fmla="*/ 793102 w 1948234"/>
              <a:gd name="connsiteY5" fmla="*/ 1589936 h 1589966"/>
              <a:gd name="connsiteX6" fmla="*/ 0 w 1948234"/>
              <a:gd name="connsiteY6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948232 w 1956577"/>
              <a:gd name="connsiteY3" fmla="*/ 947989 h 1589966"/>
              <a:gd name="connsiteX4" fmla="*/ 1731760 w 1956577"/>
              <a:gd name="connsiteY4" fmla="*/ 1093547 h 1589966"/>
              <a:gd name="connsiteX5" fmla="*/ 1582472 w 1956577"/>
              <a:gd name="connsiteY5" fmla="*/ 884542 h 1589966"/>
              <a:gd name="connsiteX6" fmla="*/ 793102 w 1956577"/>
              <a:gd name="connsiteY6" fmla="*/ 1589936 h 1589966"/>
              <a:gd name="connsiteX7" fmla="*/ 0 w 1956577"/>
              <a:gd name="connsiteY7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35492 w 1956577"/>
              <a:gd name="connsiteY3" fmla="*/ 615820 h 1589966"/>
              <a:gd name="connsiteX4" fmla="*/ 1948232 w 1956577"/>
              <a:gd name="connsiteY4" fmla="*/ 947989 h 1589966"/>
              <a:gd name="connsiteX5" fmla="*/ 1731760 w 1956577"/>
              <a:gd name="connsiteY5" fmla="*/ 1093547 h 1589966"/>
              <a:gd name="connsiteX6" fmla="*/ 1582472 w 1956577"/>
              <a:gd name="connsiteY6" fmla="*/ 884542 h 1589966"/>
              <a:gd name="connsiteX7" fmla="*/ 793102 w 1956577"/>
              <a:gd name="connsiteY7" fmla="*/ 1589936 h 1589966"/>
              <a:gd name="connsiteX8" fmla="*/ 0 w 1956577"/>
              <a:gd name="connsiteY8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675776 w 1956577"/>
              <a:gd name="connsiteY3" fmla="*/ 671804 h 1589966"/>
              <a:gd name="connsiteX4" fmla="*/ 1735492 w 1956577"/>
              <a:gd name="connsiteY4" fmla="*/ 615820 h 1589966"/>
              <a:gd name="connsiteX5" fmla="*/ 1948232 w 1956577"/>
              <a:gd name="connsiteY5" fmla="*/ 947989 h 1589966"/>
              <a:gd name="connsiteX6" fmla="*/ 1731760 w 1956577"/>
              <a:gd name="connsiteY6" fmla="*/ 1093547 h 1589966"/>
              <a:gd name="connsiteX7" fmla="*/ 1582472 w 1956577"/>
              <a:gd name="connsiteY7" fmla="*/ 884542 h 1589966"/>
              <a:gd name="connsiteX8" fmla="*/ 793102 w 1956577"/>
              <a:gd name="connsiteY8" fmla="*/ 1589936 h 1589966"/>
              <a:gd name="connsiteX9" fmla="*/ 0 w 1956577"/>
              <a:gd name="connsiteY9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68 h 1589966"/>
              <a:gd name="connsiteX1" fmla="*/ 793102 w 1956577"/>
              <a:gd name="connsiteY1" fmla="*/ 0 h 1589966"/>
              <a:gd name="connsiteX2" fmla="*/ 1586204 w 1956577"/>
              <a:gd name="connsiteY2" fmla="*/ 794968 h 1589966"/>
              <a:gd name="connsiteX3" fmla="*/ 1769082 w 1956577"/>
              <a:gd name="connsiteY3" fmla="*/ 768842 h 1589966"/>
              <a:gd name="connsiteX4" fmla="*/ 1675776 w 1956577"/>
              <a:gd name="connsiteY4" fmla="*/ 671804 h 1589966"/>
              <a:gd name="connsiteX5" fmla="*/ 1735492 w 1956577"/>
              <a:gd name="connsiteY5" fmla="*/ 615820 h 1589966"/>
              <a:gd name="connsiteX6" fmla="*/ 1948232 w 1956577"/>
              <a:gd name="connsiteY6" fmla="*/ 947989 h 1589966"/>
              <a:gd name="connsiteX7" fmla="*/ 1731760 w 1956577"/>
              <a:gd name="connsiteY7" fmla="*/ 1093547 h 1589966"/>
              <a:gd name="connsiteX8" fmla="*/ 1582472 w 1956577"/>
              <a:gd name="connsiteY8" fmla="*/ 884542 h 1589966"/>
              <a:gd name="connsiteX9" fmla="*/ 793102 w 1956577"/>
              <a:gd name="connsiteY9" fmla="*/ 1589936 h 1589966"/>
              <a:gd name="connsiteX10" fmla="*/ 0 w 1956577"/>
              <a:gd name="connsiteY10" fmla="*/ 794968 h 1589966"/>
              <a:gd name="connsiteX0" fmla="*/ 0 w 1956577"/>
              <a:gd name="connsiteY0" fmla="*/ 794997 h 1589995"/>
              <a:gd name="connsiteX1" fmla="*/ 793102 w 1956577"/>
              <a:gd name="connsiteY1" fmla="*/ 29 h 1589995"/>
              <a:gd name="connsiteX2" fmla="*/ 1586204 w 1956577"/>
              <a:gd name="connsiteY2" fmla="*/ 772604 h 1589995"/>
              <a:gd name="connsiteX3" fmla="*/ 1769082 w 1956577"/>
              <a:gd name="connsiteY3" fmla="*/ 768871 h 1589995"/>
              <a:gd name="connsiteX4" fmla="*/ 1675776 w 1956577"/>
              <a:gd name="connsiteY4" fmla="*/ 671833 h 1589995"/>
              <a:gd name="connsiteX5" fmla="*/ 1735492 w 1956577"/>
              <a:gd name="connsiteY5" fmla="*/ 615849 h 1589995"/>
              <a:gd name="connsiteX6" fmla="*/ 1948232 w 1956577"/>
              <a:gd name="connsiteY6" fmla="*/ 948018 h 1589995"/>
              <a:gd name="connsiteX7" fmla="*/ 1731760 w 1956577"/>
              <a:gd name="connsiteY7" fmla="*/ 1093576 h 1589995"/>
              <a:gd name="connsiteX8" fmla="*/ 1582472 w 1956577"/>
              <a:gd name="connsiteY8" fmla="*/ 884571 h 1589995"/>
              <a:gd name="connsiteX9" fmla="*/ 793102 w 1956577"/>
              <a:gd name="connsiteY9" fmla="*/ 1589965 h 1589995"/>
              <a:gd name="connsiteX10" fmla="*/ 0 w 1956577"/>
              <a:gd name="connsiteY10" fmla="*/ 794997 h 1589995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9082 w 1956577"/>
              <a:gd name="connsiteY3" fmla="*/ 768955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5081 h 1590079"/>
              <a:gd name="connsiteX1" fmla="*/ 793102 w 1956577"/>
              <a:gd name="connsiteY1" fmla="*/ 113 h 1590079"/>
              <a:gd name="connsiteX2" fmla="*/ 1586204 w 1956577"/>
              <a:gd name="connsiteY2" fmla="*/ 772688 h 1590079"/>
              <a:gd name="connsiteX3" fmla="*/ 1761708 w 1956577"/>
              <a:gd name="connsiteY3" fmla="*/ 766497 h 1590079"/>
              <a:gd name="connsiteX4" fmla="*/ 1675776 w 1956577"/>
              <a:gd name="connsiteY4" fmla="*/ 671917 h 1590079"/>
              <a:gd name="connsiteX5" fmla="*/ 1735492 w 1956577"/>
              <a:gd name="connsiteY5" fmla="*/ 615933 h 1590079"/>
              <a:gd name="connsiteX6" fmla="*/ 1948232 w 1956577"/>
              <a:gd name="connsiteY6" fmla="*/ 948102 h 1590079"/>
              <a:gd name="connsiteX7" fmla="*/ 1731760 w 1956577"/>
              <a:gd name="connsiteY7" fmla="*/ 1093660 h 1590079"/>
              <a:gd name="connsiteX8" fmla="*/ 1582472 w 1956577"/>
              <a:gd name="connsiteY8" fmla="*/ 884655 h 1590079"/>
              <a:gd name="connsiteX9" fmla="*/ 793102 w 1956577"/>
              <a:gd name="connsiteY9" fmla="*/ 1590049 h 1590079"/>
              <a:gd name="connsiteX10" fmla="*/ 0 w 1956577"/>
              <a:gd name="connsiteY10" fmla="*/ 795081 h 1590079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61708 w 1956577"/>
              <a:gd name="connsiteY3" fmla="*/ 76639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90974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5776 w 1956577"/>
              <a:gd name="connsiteY4" fmla="*/ 671814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73318 w 1956577"/>
              <a:gd name="connsiteY4" fmla="*/ 679189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56577"/>
              <a:gd name="connsiteY0" fmla="*/ 794978 h 1589976"/>
              <a:gd name="connsiteX1" fmla="*/ 793102 w 1956577"/>
              <a:gd name="connsiteY1" fmla="*/ 10 h 1589976"/>
              <a:gd name="connsiteX2" fmla="*/ 1596037 w 1956577"/>
              <a:gd name="connsiteY2" fmla="*/ 782417 h 1589976"/>
              <a:gd name="connsiteX3" fmla="*/ 1759250 w 1956577"/>
              <a:gd name="connsiteY3" fmla="*/ 781141 h 1589976"/>
              <a:gd name="connsiteX4" fmla="*/ 1666175 w 1956577"/>
              <a:gd name="connsiteY4" fmla="*/ 674426 h 1589976"/>
              <a:gd name="connsiteX5" fmla="*/ 1735492 w 1956577"/>
              <a:gd name="connsiteY5" fmla="*/ 615830 h 1589976"/>
              <a:gd name="connsiteX6" fmla="*/ 1948232 w 1956577"/>
              <a:gd name="connsiteY6" fmla="*/ 947999 h 1589976"/>
              <a:gd name="connsiteX7" fmla="*/ 1731760 w 1956577"/>
              <a:gd name="connsiteY7" fmla="*/ 1093557 h 1589976"/>
              <a:gd name="connsiteX8" fmla="*/ 1582472 w 1956577"/>
              <a:gd name="connsiteY8" fmla="*/ 884552 h 1589976"/>
              <a:gd name="connsiteX9" fmla="*/ 793102 w 1956577"/>
              <a:gd name="connsiteY9" fmla="*/ 1589946 h 1589976"/>
              <a:gd name="connsiteX10" fmla="*/ 0 w 1956577"/>
              <a:gd name="connsiteY10" fmla="*/ 794978 h 1589976"/>
              <a:gd name="connsiteX0" fmla="*/ 0 w 1935933"/>
              <a:gd name="connsiteY0" fmla="*/ 794978 h 1589976"/>
              <a:gd name="connsiteX1" fmla="*/ 793102 w 1935933"/>
              <a:gd name="connsiteY1" fmla="*/ 10 h 1589976"/>
              <a:gd name="connsiteX2" fmla="*/ 1596037 w 1935933"/>
              <a:gd name="connsiteY2" fmla="*/ 782417 h 1589976"/>
              <a:gd name="connsiteX3" fmla="*/ 1759250 w 1935933"/>
              <a:gd name="connsiteY3" fmla="*/ 781141 h 1589976"/>
              <a:gd name="connsiteX4" fmla="*/ 1666175 w 1935933"/>
              <a:gd name="connsiteY4" fmla="*/ 674426 h 1589976"/>
              <a:gd name="connsiteX5" fmla="*/ 1735492 w 1935933"/>
              <a:gd name="connsiteY5" fmla="*/ 615830 h 1589976"/>
              <a:gd name="connsiteX6" fmla="*/ 1926801 w 1935933"/>
              <a:gd name="connsiteY6" fmla="*/ 831317 h 1589976"/>
              <a:gd name="connsiteX7" fmla="*/ 1731760 w 1935933"/>
              <a:gd name="connsiteY7" fmla="*/ 1093557 h 1589976"/>
              <a:gd name="connsiteX8" fmla="*/ 1582472 w 1935933"/>
              <a:gd name="connsiteY8" fmla="*/ 884552 h 1589976"/>
              <a:gd name="connsiteX9" fmla="*/ 793102 w 1935933"/>
              <a:gd name="connsiteY9" fmla="*/ 1589946 h 1589976"/>
              <a:gd name="connsiteX10" fmla="*/ 0 w 1935933"/>
              <a:gd name="connsiteY10" fmla="*/ 794978 h 1589976"/>
              <a:gd name="connsiteX0" fmla="*/ 0 w 1929209"/>
              <a:gd name="connsiteY0" fmla="*/ 794978 h 1589976"/>
              <a:gd name="connsiteX1" fmla="*/ 793102 w 1929209"/>
              <a:gd name="connsiteY1" fmla="*/ 10 h 1589976"/>
              <a:gd name="connsiteX2" fmla="*/ 1596037 w 1929209"/>
              <a:gd name="connsiteY2" fmla="*/ 782417 h 1589976"/>
              <a:gd name="connsiteX3" fmla="*/ 1759250 w 1929209"/>
              <a:gd name="connsiteY3" fmla="*/ 781141 h 1589976"/>
              <a:gd name="connsiteX4" fmla="*/ 1666175 w 1929209"/>
              <a:gd name="connsiteY4" fmla="*/ 674426 h 1589976"/>
              <a:gd name="connsiteX5" fmla="*/ 1735492 w 1929209"/>
              <a:gd name="connsiteY5" fmla="*/ 615830 h 1589976"/>
              <a:gd name="connsiteX6" fmla="*/ 1926801 w 1929209"/>
              <a:gd name="connsiteY6" fmla="*/ 831317 h 1589976"/>
              <a:gd name="connsiteX7" fmla="*/ 1731760 w 1929209"/>
              <a:gd name="connsiteY7" fmla="*/ 1093557 h 1589976"/>
              <a:gd name="connsiteX8" fmla="*/ 1582472 w 1929209"/>
              <a:gd name="connsiteY8" fmla="*/ 884552 h 1589976"/>
              <a:gd name="connsiteX9" fmla="*/ 793102 w 1929209"/>
              <a:gd name="connsiteY9" fmla="*/ 1589946 h 1589976"/>
              <a:gd name="connsiteX10" fmla="*/ 0 w 1929209"/>
              <a:gd name="connsiteY10" fmla="*/ 794978 h 1589976"/>
              <a:gd name="connsiteX0" fmla="*/ 0 w 1926801"/>
              <a:gd name="connsiteY0" fmla="*/ 794978 h 1589976"/>
              <a:gd name="connsiteX1" fmla="*/ 793102 w 1926801"/>
              <a:gd name="connsiteY1" fmla="*/ 10 h 1589976"/>
              <a:gd name="connsiteX2" fmla="*/ 1596037 w 1926801"/>
              <a:gd name="connsiteY2" fmla="*/ 782417 h 1589976"/>
              <a:gd name="connsiteX3" fmla="*/ 1759250 w 1926801"/>
              <a:gd name="connsiteY3" fmla="*/ 781141 h 1589976"/>
              <a:gd name="connsiteX4" fmla="*/ 1666175 w 1926801"/>
              <a:gd name="connsiteY4" fmla="*/ 674426 h 1589976"/>
              <a:gd name="connsiteX5" fmla="*/ 1735492 w 1926801"/>
              <a:gd name="connsiteY5" fmla="*/ 615830 h 1589976"/>
              <a:gd name="connsiteX6" fmla="*/ 1926801 w 1926801"/>
              <a:gd name="connsiteY6" fmla="*/ 831317 h 1589976"/>
              <a:gd name="connsiteX7" fmla="*/ 1731760 w 1926801"/>
              <a:gd name="connsiteY7" fmla="*/ 1093557 h 1589976"/>
              <a:gd name="connsiteX8" fmla="*/ 1582472 w 1926801"/>
              <a:gd name="connsiteY8" fmla="*/ 884552 h 1589976"/>
              <a:gd name="connsiteX9" fmla="*/ 793102 w 1926801"/>
              <a:gd name="connsiteY9" fmla="*/ 1589946 h 1589976"/>
              <a:gd name="connsiteX10" fmla="*/ 0 w 1926801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31760 w 1938707"/>
              <a:gd name="connsiteY7" fmla="*/ 1093557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4173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582472 w 1938707"/>
              <a:gd name="connsiteY8" fmla="*/ 884552 h 1589976"/>
              <a:gd name="connsiteX9" fmla="*/ 793102 w 1938707"/>
              <a:gd name="connsiteY9" fmla="*/ 1589946 h 1589976"/>
              <a:gd name="connsiteX10" fmla="*/ 0 w 1938707"/>
              <a:gd name="connsiteY10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582472 w 1938707"/>
              <a:gd name="connsiteY9" fmla="*/ 884552 h 1589976"/>
              <a:gd name="connsiteX10" fmla="*/ 793102 w 1938707"/>
              <a:gd name="connsiteY10" fmla="*/ 1589946 h 1589976"/>
              <a:gd name="connsiteX11" fmla="*/ 0 w 1938707"/>
              <a:gd name="connsiteY11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89976"/>
              <a:gd name="connsiteX1" fmla="*/ 793102 w 1938707"/>
              <a:gd name="connsiteY1" fmla="*/ 10 h 1589976"/>
              <a:gd name="connsiteX2" fmla="*/ 1596037 w 1938707"/>
              <a:gd name="connsiteY2" fmla="*/ 782417 h 1589976"/>
              <a:gd name="connsiteX3" fmla="*/ 1759250 w 1938707"/>
              <a:gd name="connsiteY3" fmla="*/ 781141 h 1589976"/>
              <a:gd name="connsiteX4" fmla="*/ 1666175 w 1938707"/>
              <a:gd name="connsiteY4" fmla="*/ 674426 h 1589976"/>
              <a:gd name="connsiteX5" fmla="*/ 1735492 w 1938707"/>
              <a:gd name="connsiteY5" fmla="*/ 615830 h 1589976"/>
              <a:gd name="connsiteX6" fmla="*/ 1938707 w 1938707"/>
              <a:gd name="connsiteY6" fmla="*/ 828936 h 1589976"/>
              <a:gd name="connsiteX7" fmla="*/ 1726998 w 1938707"/>
              <a:gd name="connsiteY7" fmla="*/ 1029263 h 1589976"/>
              <a:gd name="connsiteX8" fmla="*/ 1669070 w 1938707"/>
              <a:gd name="connsiteY8" fmla="*/ 970636 h 1589976"/>
              <a:gd name="connsiteX9" fmla="*/ 1764320 w 1938707"/>
              <a:gd name="connsiteY9" fmla="*/ 870624 h 1589976"/>
              <a:gd name="connsiteX10" fmla="*/ 1582472 w 1938707"/>
              <a:gd name="connsiteY10" fmla="*/ 884552 h 1589976"/>
              <a:gd name="connsiteX11" fmla="*/ 793102 w 1938707"/>
              <a:gd name="connsiteY11" fmla="*/ 1589946 h 1589976"/>
              <a:gd name="connsiteX12" fmla="*/ 0 w 1938707"/>
              <a:gd name="connsiteY12" fmla="*/ 794978 h 1589976"/>
              <a:gd name="connsiteX0" fmla="*/ 0 w 1938707"/>
              <a:gd name="connsiteY0" fmla="*/ 794978 h 1590265"/>
              <a:gd name="connsiteX1" fmla="*/ 793102 w 1938707"/>
              <a:gd name="connsiteY1" fmla="*/ 10 h 1590265"/>
              <a:gd name="connsiteX2" fmla="*/ 1596037 w 1938707"/>
              <a:gd name="connsiteY2" fmla="*/ 782417 h 1590265"/>
              <a:gd name="connsiteX3" fmla="*/ 1759250 w 1938707"/>
              <a:gd name="connsiteY3" fmla="*/ 781141 h 1590265"/>
              <a:gd name="connsiteX4" fmla="*/ 1666175 w 1938707"/>
              <a:gd name="connsiteY4" fmla="*/ 674426 h 1590265"/>
              <a:gd name="connsiteX5" fmla="*/ 1735492 w 1938707"/>
              <a:gd name="connsiteY5" fmla="*/ 615830 h 1590265"/>
              <a:gd name="connsiteX6" fmla="*/ 1938707 w 1938707"/>
              <a:gd name="connsiteY6" fmla="*/ 828936 h 1590265"/>
              <a:gd name="connsiteX7" fmla="*/ 1726998 w 1938707"/>
              <a:gd name="connsiteY7" fmla="*/ 1029263 h 1590265"/>
              <a:gd name="connsiteX8" fmla="*/ 1669070 w 1938707"/>
              <a:gd name="connsiteY8" fmla="*/ 970636 h 1590265"/>
              <a:gd name="connsiteX9" fmla="*/ 1764320 w 1938707"/>
              <a:gd name="connsiteY9" fmla="*/ 870624 h 1590265"/>
              <a:gd name="connsiteX10" fmla="*/ 1596760 w 1938707"/>
              <a:gd name="connsiteY10" fmla="*/ 870265 h 1590265"/>
              <a:gd name="connsiteX11" fmla="*/ 793102 w 1938707"/>
              <a:gd name="connsiteY11" fmla="*/ 1589946 h 1590265"/>
              <a:gd name="connsiteX12" fmla="*/ 0 w 1938707"/>
              <a:gd name="connsiteY12" fmla="*/ 794978 h 1590265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26998 w 1938707"/>
              <a:gd name="connsiteY7" fmla="*/ 1029263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35492 w 1938707"/>
              <a:gd name="connsiteY5" fmla="*/ 615830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90287"/>
              <a:gd name="connsiteX1" fmla="*/ 793102 w 1938707"/>
              <a:gd name="connsiteY1" fmla="*/ 10 h 1590287"/>
              <a:gd name="connsiteX2" fmla="*/ 1596037 w 1938707"/>
              <a:gd name="connsiteY2" fmla="*/ 782417 h 1590287"/>
              <a:gd name="connsiteX3" fmla="*/ 1759250 w 1938707"/>
              <a:gd name="connsiteY3" fmla="*/ 781141 h 1590287"/>
              <a:gd name="connsiteX4" fmla="*/ 1666175 w 1938707"/>
              <a:gd name="connsiteY4" fmla="*/ 674426 h 1590287"/>
              <a:gd name="connsiteX5" fmla="*/ 1728348 w 1938707"/>
              <a:gd name="connsiteY5" fmla="*/ 613449 h 1590287"/>
              <a:gd name="connsiteX6" fmla="*/ 1938707 w 1938707"/>
              <a:gd name="connsiteY6" fmla="*/ 828936 h 1590287"/>
              <a:gd name="connsiteX7" fmla="*/ 1736523 w 1938707"/>
              <a:gd name="connsiteY7" fmla="*/ 1034026 h 1590287"/>
              <a:gd name="connsiteX8" fmla="*/ 1669070 w 1938707"/>
              <a:gd name="connsiteY8" fmla="*/ 970636 h 1590287"/>
              <a:gd name="connsiteX9" fmla="*/ 1764320 w 1938707"/>
              <a:gd name="connsiteY9" fmla="*/ 870624 h 1590287"/>
              <a:gd name="connsiteX10" fmla="*/ 1594378 w 1938707"/>
              <a:gd name="connsiteY10" fmla="*/ 872647 h 1590287"/>
              <a:gd name="connsiteX11" fmla="*/ 793102 w 1938707"/>
              <a:gd name="connsiteY11" fmla="*/ 1589946 h 1590287"/>
              <a:gd name="connsiteX12" fmla="*/ 0 w 1938707"/>
              <a:gd name="connsiteY12" fmla="*/ 794978 h 1590287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  <a:gd name="connsiteX0" fmla="*/ 0 w 1938707"/>
              <a:gd name="connsiteY0" fmla="*/ 794978 h 1589971"/>
              <a:gd name="connsiteX1" fmla="*/ 793102 w 1938707"/>
              <a:gd name="connsiteY1" fmla="*/ 10 h 1589971"/>
              <a:gd name="connsiteX2" fmla="*/ 1596037 w 1938707"/>
              <a:gd name="connsiteY2" fmla="*/ 782417 h 1589971"/>
              <a:gd name="connsiteX3" fmla="*/ 1759250 w 1938707"/>
              <a:gd name="connsiteY3" fmla="*/ 781141 h 1589971"/>
              <a:gd name="connsiteX4" fmla="*/ 1666175 w 1938707"/>
              <a:gd name="connsiteY4" fmla="*/ 674426 h 1589971"/>
              <a:gd name="connsiteX5" fmla="*/ 1728348 w 1938707"/>
              <a:gd name="connsiteY5" fmla="*/ 613449 h 1589971"/>
              <a:gd name="connsiteX6" fmla="*/ 1938707 w 1938707"/>
              <a:gd name="connsiteY6" fmla="*/ 828936 h 1589971"/>
              <a:gd name="connsiteX7" fmla="*/ 1736523 w 1938707"/>
              <a:gd name="connsiteY7" fmla="*/ 1034026 h 1589971"/>
              <a:gd name="connsiteX8" fmla="*/ 1669070 w 1938707"/>
              <a:gd name="connsiteY8" fmla="*/ 970636 h 1589971"/>
              <a:gd name="connsiteX9" fmla="*/ 1764320 w 1938707"/>
              <a:gd name="connsiteY9" fmla="*/ 870624 h 1589971"/>
              <a:gd name="connsiteX10" fmla="*/ 1594378 w 1938707"/>
              <a:gd name="connsiteY10" fmla="*/ 872647 h 1589971"/>
              <a:gd name="connsiteX11" fmla="*/ 793102 w 1938707"/>
              <a:gd name="connsiteY11" fmla="*/ 1589946 h 1589971"/>
              <a:gd name="connsiteX12" fmla="*/ 0 w 1938707"/>
              <a:gd name="connsiteY12" fmla="*/ 794978 h 158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38707" h="1589971">
                <a:moveTo>
                  <a:pt x="0" y="794978"/>
                </a:moveTo>
                <a:cubicBezTo>
                  <a:pt x="0" y="355929"/>
                  <a:pt x="370577" y="2103"/>
                  <a:pt x="793102" y="10"/>
                </a:cubicBezTo>
                <a:cubicBezTo>
                  <a:pt x="1215627" y="-2083"/>
                  <a:pt x="1597592" y="348233"/>
                  <a:pt x="1596037" y="782417"/>
                </a:cubicBezTo>
                <a:cubicBezTo>
                  <a:pt x="1706448" y="783661"/>
                  <a:pt x="1692702" y="779547"/>
                  <a:pt x="1759250" y="781141"/>
                </a:cubicBezTo>
                <a:cubicBezTo>
                  <a:pt x="1693063" y="711452"/>
                  <a:pt x="1696173" y="717136"/>
                  <a:pt x="1666175" y="674426"/>
                </a:cubicBezTo>
                <a:cubicBezTo>
                  <a:pt x="1704695" y="642163"/>
                  <a:pt x="1689828" y="647816"/>
                  <a:pt x="1728348" y="613449"/>
                </a:cubicBezTo>
                <a:cubicBezTo>
                  <a:pt x="1783691" y="671260"/>
                  <a:pt x="1839765" y="730946"/>
                  <a:pt x="1938707" y="828936"/>
                </a:cubicBezTo>
                <a:cubicBezTo>
                  <a:pt x="1855227" y="906701"/>
                  <a:pt x="1804627" y="970781"/>
                  <a:pt x="1736523" y="1034026"/>
                </a:cubicBezTo>
                <a:cubicBezTo>
                  <a:pt x="1700712" y="1000890"/>
                  <a:pt x="1693158" y="994755"/>
                  <a:pt x="1669070" y="970636"/>
                </a:cubicBezTo>
                <a:cubicBezTo>
                  <a:pt x="1715772" y="927528"/>
                  <a:pt x="1723985" y="915928"/>
                  <a:pt x="1764320" y="870624"/>
                </a:cubicBezTo>
                <a:cubicBezTo>
                  <a:pt x="1680830" y="868183"/>
                  <a:pt x="1689572" y="871822"/>
                  <a:pt x="1594378" y="872647"/>
                </a:cubicBezTo>
                <a:cubicBezTo>
                  <a:pt x="1559855" y="1245250"/>
                  <a:pt x="1215351" y="1586416"/>
                  <a:pt x="793102" y="1589946"/>
                </a:cubicBezTo>
                <a:cubicBezTo>
                  <a:pt x="370853" y="1593476"/>
                  <a:pt x="0" y="1234027"/>
                  <a:pt x="0" y="7949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288000" anchor="ctr"/>
          <a:lstStyle>
            <a:lvl1pPr algn="ctr">
              <a:defRPr sz="1200" b="1" spc="-2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A41002F-42F2-4CBE-8A6D-0FED6772F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8555" y="4072545"/>
            <a:ext cx="1950072" cy="1476417"/>
          </a:xfrm>
          <a:prstGeom prst="ellipse">
            <a:avLst/>
          </a:prstGeom>
          <a:ln w="244475">
            <a:solidFill>
              <a:schemeClr val="accent1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C84F53-B66E-46C2-9558-384F5986A4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27045" y="4072545"/>
            <a:ext cx="1950072" cy="1476417"/>
          </a:xfrm>
          <a:prstGeom prst="ellipse">
            <a:avLst/>
          </a:prstGeom>
          <a:ln w="244475">
            <a:solidFill>
              <a:schemeClr val="accent2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2C24EEA-FB29-4CF6-BCCE-178372DAA7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536" y="4072545"/>
            <a:ext cx="1950072" cy="1476417"/>
          </a:xfrm>
          <a:prstGeom prst="ellipse">
            <a:avLst/>
          </a:prstGeom>
          <a:ln w="244475">
            <a:solidFill>
              <a:schemeClr val="accent3"/>
            </a:solidFill>
          </a:ln>
        </p:spPr>
        <p:txBody>
          <a:bodyPr lIns="0" tIns="0" rIns="0" anchor="ctr"/>
          <a:lstStyle>
            <a:lvl1pPr algn="ctr">
              <a:defRPr sz="1200" b="0" spc="-4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DF982DF-366D-43A8-895B-BE8FEC06843F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34D1F61-0F4B-4F89-8921-A32DEDB172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1D7B394-5C8B-448E-8211-388536ABC3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37018E68-DE00-4F0B-9185-8286938F9E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21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7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44C9BB5-79AA-4D4A-B83E-21584F267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3836671"/>
            <a:ext cx="5507567" cy="241172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2" y="1234800"/>
            <a:ext cx="5118487" cy="4930056"/>
          </a:xfrm>
        </p:spPr>
        <p:txBody>
          <a:bodyPr/>
          <a:lstStyle>
            <a:lvl1pPr>
              <a:spcAft>
                <a:spcPts val="1000"/>
              </a:spcAft>
              <a:defRPr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2AE663D-18E3-4214-A8EC-8724C96010B4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0D8D7C4-2072-4966-B25B-FD30964741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5197" y="313200"/>
            <a:ext cx="11040532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B987E93-5B92-41DF-BF44-1AAE7F8766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18F7B234-BF36-4B7C-9BE7-139F7CD90B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8620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07B690-681D-40FE-8A16-41C6F3D5BD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08701" y="1255396"/>
            <a:ext cx="5507567" cy="4950644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21015"/>
            <a:ext cx="5136000" cy="4930056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 sz="1900"/>
            </a:lvl1pPr>
            <a:lvl2pPr>
              <a:lnSpc>
                <a:spcPct val="100000"/>
              </a:lnSpc>
              <a:spcAft>
                <a:spcPts val="1000"/>
              </a:spcAft>
              <a:defRPr sz="1900"/>
            </a:lvl2pPr>
            <a:lvl3pPr>
              <a:lnSpc>
                <a:spcPct val="100000"/>
              </a:lnSpc>
              <a:spcAft>
                <a:spcPts val="1000"/>
              </a:spcAft>
              <a:defRPr sz="1900"/>
            </a:lvl3pPr>
            <a:lvl4pPr>
              <a:lnSpc>
                <a:spcPct val="100000"/>
              </a:lnSpc>
              <a:spcAft>
                <a:spcPts val="1000"/>
              </a:spcAft>
              <a:defRPr sz="1900"/>
            </a:lvl4pPr>
            <a:lvl5pPr>
              <a:lnSpc>
                <a:spcPct val="100000"/>
              </a:lnSpc>
              <a:spcAft>
                <a:spcPts val="1000"/>
              </a:spcAft>
              <a:defRPr sz="1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13DF0F-5873-49AF-9208-39854D61C90D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A0AD0A5-224F-4C9B-9A27-D9C0E5E71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2708CC-01EC-4CF0-8C61-BC51F1190D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BAD7C1D-95A6-4122-89D2-98CC016E40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74219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75735" y="1306288"/>
            <a:ext cx="11040532" cy="49985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34800"/>
            <a:ext cx="5520000" cy="2024154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 sz="1400"/>
            </a:lvl1pPr>
            <a:lvl2pPr>
              <a:lnSpc>
                <a:spcPct val="100000"/>
              </a:lnSpc>
              <a:spcAft>
                <a:spcPts val="1000"/>
              </a:spcAft>
              <a:defRPr sz="1400"/>
            </a:lvl2pPr>
            <a:lvl3pPr>
              <a:lnSpc>
                <a:spcPct val="100000"/>
              </a:lnSpc>
              <a:spcAft>
                <a:spcPts val="1000"/>
              </a:spcAft>
              <a:defRPr sz="1400"/>
            </a:lvl3pPr>
            <a:lvl4pPr>
              <a:lnSpc>
                <a:spcPct val="100000"/>
              </a:lnSpc>
              <a:spcAft>
                <a:spcPts val="1000"/>
              </a:spcAft>
              <a:defRPr sz="1400"/>
            </a:lvl4pPr>
            <a:lvl5pPr>
              <a:lnSpc>
                <a:spcPct val="100000"/>
              </a:lnSpc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ED3A4B6-3484-43F3-860D-793187396B37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49E9801-F1B9-4C57-A25B-2CFE611C42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4559B67-857E-42A8-B029-16972D90E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0FC7BE36-0DF7-467A-AF41-D83F4CA506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7183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06C182CF-2307-477B-88F5-3F62ABC2644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709481" y="1250554"/>
            <a:ext cx="7918992" cy="5054234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1" y="1234800"/>
            <a:ext cx="4464000" cy="202415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/>
            </a:lvl1pPr>
            <a:lvl2pPr marL="0" indent="0">
              <a:lnSpc>
                <a:spcPct val="100000"/>
              </a:lnSpc>
              <a:spcAft>
                <a:spcPts val="800"/>
              </a:spcAft>
              <a:buNone/>
              <a:defRPr sz="1400"/>
            </a:lvl2pPr>
            <a:lvl3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sz="1400"/>
            </a:lvl3pPr>
            <a:lvl4pPr>
              <a:lnSpc>
                <a:spcPct val="100000"/>
              </a:lnSpc>
              <a:spcAft>
                <a:spcPts val="800"/>
              </a:spcAft>
              <a:defRPr sz="1400"/>
            </a:lvl4pPr>
            <a:lvl5pPr>
              <a:lnSpc>
                <a:spcPct val="100000"/>
              </a:lnSpc>
              <a:spcAft>
                <a:spcPts val="8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7E1F19-9F9C-4AA8-99D6-D70DF6001040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FE6740-5475-4C95-83B3-B418FB2780C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75731" y="4278651"/>
            <a:ext cx="3518597" cy="143016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1"/>
            </a:lvl1pPr>
            <a:lvl2pPr marL="0" indent="0">
              <a:lnSpc>
                <a:spcPct val="100000"/>
              </a:lnSpc>
              <a:spcAft>
                <a:spcPts val="800"/>
              </a:spcAft>
              <a:buNone/>
              <a:defRPr sz="1200"/>
            </a:lvl2pPr>
            <a:lvl3pPr marL="171450" indent="-1714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sz="1200"/>
            </a:lvl3pPr>
            <a:lvl4pPr>
              <a:lnSpc>
                <a:spcPct val="100000"/>
              </a:lnSpc>
              <a:spcAft>
                <a:spcPts val="800"/>
              </a:spcAft>
              <a:defRPr sz="1200"/>
            </a:lvl4pPr>
            <a:lvl5pPr>
              <a:lnSpc>
                <a:spcPct val="100000"/>
              </a:lnSpc>
              <a:spcAft>
                <a:spcPts val="8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936DAE-312D-4B83-8B89-5E61561677D5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3C0FF2E-6A98-4868-8ACD-921A0ADEA5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88CAC6A-E4A6-43F4-A73D-06A3C4168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B487DED2-3BF9-49DE-A188-1477B6DA9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94857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585118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1B0B357-D9B0-4211-8B79-5EF3C2F15E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3973"/>
            <a:ext cx="7888076" cy="1050505"/>
          </a:xfrm>
        </p:spPr>
        <p:txBody>
          <a:bodyPr anchor="t"/>
          <a:lstStyle>
            <a:lvl1pPr algn="l" rtl="0">
              <a:lnSpc>
                <a:spcPct val="100000"/>
              </a:lnSpc>
              <a:defRPr sz="36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4F964C76-526C-487A-999E-0FDAE214CE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3163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2801"/>
            <a:ext cx="7888076" cy="1050505"/>
          </a:xfrm>
        </p:spPr>
        <p:txBody>
          <a:bodyPr anchor="t"/>
          <a:lstStyle>
            <a:lvl1pPr algn="l">
              <a:lnSpc>
                <a:spcPct val="100000"/>
              </a:lnSpc>
              <a:defRPr sz="36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56F4347D-58F3-4628-9916-1246FD9E73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279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415634"/>
            <a:ext cx="11040000" cy="32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40532" cy="4930056"/>
          </a:xfrm>
        </p:spPr>
        <p:txBody>
          <a:bodyPr numCol="2" spcCol="288000" rtlCol="0"/>
          <a:lstStyle>
            <a:lvl1pPr>
              <a:spcAft>
                <a:spcPts val="1200"/>
              </a:spcAft>
              <a:defRPr/>
            </a:lvl1pPr>
            <a:lvl2pPr marL="179388" indent="-179388">
              <a:defRPr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F9DBC96-5270-4614-8535-8D3F8CD4D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732" y="705829"/>
            <a:ext cx="11040000" cy="360000"/>
          </a:xfrm>
        </p:spPr>
        <p:txBody>
          <a:bodyPr/>
          <a:lstStyle>
            <a:lvl1pPr>
              <a:lnSpc>
                <a:spcPts val="2200"/>
              </a:lnSpc>
              <a:spcAft>
                <a:spcPts val="0"/>
              </a:spcAft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616A2C-253A-4115-ACDD-BC151D2897C0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5BF9D90-75A7-4258-ADAD-4BECF61CF1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871B2DA-F8B5-4112-BCE3-CFDA34BB0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6EC8F2CA-148C-4883-887D-80A7CFC2CB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6401" y="6426001"/>
            <a:ext cx="1688596" cy="33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59381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CC45F4-C3AC-4D53-8A51-2055B6C42D06}"/>
              </a:ext>
            </a:extLst>
          </p:cNvPr>
          <p:cNvSpPr/>
          <p:nvPr userDrawn="1"/>
        </p:nvSpPr>
        <p:spPr>
          <a:xfrm>
            <a:off x="0" y="0"/>
            <a:ext cx="12192000" cy="6106332"/>
          </a:xfrm>
          <a:custGeom>
            <a:avLst/>
            <a:gdLst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6106332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9144000 w 9144000"/>
              <a:gd name="connsiteY3" fmla="*/ 6106332 h 6106332"/>
              <a:gd name="connsiteX4" fmla="*/ 0 w 9144000"/>
              <a:gd name="connsiteY4" fmla="*/ 6106332 h 6106332"/>
              <a:gd name="connsiteX5" fmla="*/ 0 w 9144000"/>
              <a:gd name="connsiteY5" fmla="*/ 0 h 6106332"/>
              <a:gd name="connsiteX0" fmla="*/ 0 w 9144000"/>
              <a:gd name="connsiteY0" fmla="*/ 0 h 6106332"/>
              <a:gd name="connsiteX1" fmla="*/ 9144000 w 9144000"/>
              <a:gd name="connsiteY1" fmla="*/ 0 h 6106332"/>
              <a:gd name="connsiteX2" fmla="*/ 9144000 w 9144000"/>
              <a:gd name="connsiteY2" fmla="*/ 4757980 h 6106332"/>
              <a:gd name="connsiteX3" fmla="*/ 0 w 9144000"/>
              <a:gd name="connsiteY3" fmla="*/ 6106332 h 6106332"/>
              <a:gd name="connsiteX4" fmla="*/ 0 w 9144000"/>
              <a:gd name="connsiteY4" fmla="*/ 0 h 610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106332">
                <a:moveTo>
                  <a:pt x="0" y="0"/>
                </a:moveTo>
                <a:lnTo>
                  <a:pt x="9144000" y="0"/>
                </a:lnTo>
                <a:lnTo>
                  <a:pt x="9144000" y="4757980"/>
                </a:lnTo>
                <a:lnTo>
                  <a:pt x="0" y="61063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1" y="1522801"/>
            <a:ext cx="7888076" cy="1050505"/>
          </a:xfrm>
        </p:spPr>
        <p:txBody>
          <a:bodyPr anchor="t"/>
          <a:lstStyle>
            <a:lvl1pPr algn="l">
              <a:lnSpc>
                <a:spcPct val="100000"/>
              </a:lnSpc>
              <a:defRPr sz="36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6000" y="2851201"/>
            <a:ext cx="7866856" cy="1050505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940702F7-3A37-4BC5-A779-C05B0C684B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21600" y="5101200"/>
            <a:ext cx="4115451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5048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067028"/>
            <a:ext cx="7888076" cy="1430480"/>
          </a:xfrm>
        </p:spPr>
        <p:txBody>
          <a:bodyPr anchor="t"/>
          <a:lstStyle>
            <a:lvl1pPr algn="l">
              <a:lnSpc>
                <a:spcPct val="1000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84400"/>
            <a:ext cx="7888076" cy="648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C376C99-63A2-4F75-A71F-CC3ACBF713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8D63F3A-618E-458A-B7DF-6384A180D5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82722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2AF448-ACBD-4F01-AEF3-2E839A345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057" y="4068000"/>
            <a:ext cx="7888076" cy="1430480"/>
          </a:xfrm>
        </p:spPr>
        <p:txBody>
          <a:bodyPr anchor="t"/>
          <a:lstStyle>
            <a:lvl1pPr algn="l">
              <a:lnSpc>
                <a:spcPct val="100000"/>
              </a:lnSpc>
              <a:defRPr sz="4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2055" y="5684400"/>
            <a:ext cx="7888076" cy="648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538DB9-713C-488A-B7F0-DAB8314A70D1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A97E3A6-DE46-42DB-A31C-FD745DDCBA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AFE3D4EC-AAF8-4A6F-AB16-9D7BD44C35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7811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57F351-6D8A-4649-BC57-85F24A012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41067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/>
          <a:lstStyle>
            <a:lvl1pPr>
              <a:spcAft>
                <a:spcPts val="1000"/>
              </a:spcAft>
              <a:defRPr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0B8FF69-AA07-4159-B516-55528A40B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2FD3F55A-70FD-4004-BCC5-26C5D4B971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53302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2pt Single 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58C3740-D81F-4499-86C1-03F0735DA0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>
                <a:solidFill>
                  <a:schemeClr val="bg1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8445115" cy="4930056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9F0D83-3B5A-47A1-8143-16321664D343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7240DD9-58C3-4AB4-AF9C-FDAB7DF77A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0A5FA4A-0550-4314-B066-58C946E06E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3296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3" y="313201"/>
            <a:ext cx="11036299" cy="529555"/>
          </a:xfrm>
        </p:spPr>
        <p:txBody>
          <a:bodyPr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/>
          <a:lstStyle>
            <a:lvl1pPr marL="270000" indent="0">
              <a:lnSpc>
                <a:spcPct val="100000"/>
              </a:lnSpc>
              <a:spcAft>
                <a:spcPts val="600"/>
              </a:spcAft>
              <a:tabLst/>
              <a:defRPr sz="14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None/>
              <a:tabLst>
                <a:tab pos="447675" algn="l"/>
              </a:tabLst>
              <a:defRPr sz="1400">
                <a:solidFill>
                  <a:schemeClr val="bg1"/>
                </a:solidFill>
              </a:defRPr>
            </a:lvl2pPr>
            <a:lvl3pPr marL="180000" indent="-216000">
              <a:lnSpc>
                <a:spcPts val="144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440"/>
              </a:lnSpc>
              <a:spcAft>
                <a:spcPts val="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B0DE5A-C344-4BAC-8722-ED6064694F51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2EBC18-7749-44BC-8A96-07FDB000A7F3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0207427-9951-4F2D-8CFB-2E70102F5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DCE22CE0-5B78-4DED-BBC3-49FB97EE3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0129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 rtlCol="0"/>
          <a:lstStyle>
            <a:lvl1pPr>
              <a:spcAft>
                <a:spcPts val="1000"/>
              </a:spcAft>
              <a:defRPr/>
            </a:lvl1pPr>
            <a:lvl2pPr marL="179388" indent="-179388"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  <a:lvl5pPr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205E4C-6184-4E72-BC76-9A3CEFED65C5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2947BA-DEEB-4260-AAFB-8E78E2D7E7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CA269C4-1D23-44B5-9EEB-A9FF77C0D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91519290-EBFB-4A94-A523-F9ED918D1B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5609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34800"/>
            <a:ext cx="11040532" cy="4930056"/>
          </a:xfrm>
        </p:spPr>
        <p:txBody>
          <a:bodyPr numCol="2" spcCol="288000" rtlCol="0"/>
          <a:lstStyle>
            <a:lvl2pPr marL="179388" indent="-179388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6E512F-17E5-411B-AD21-A17ACDD08764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11996A1-5439-4F67-8275-2118E1C9D61D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D5E396D-BACB-4E6F-9FE7-DD529EC2BD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97" y="313200"/>
            <a:ext cx="11036835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4A8C64B-EDF3-47E5-9A99-19F475CE91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3BC69877-AB38-4AE3-A81B-7947DEC55D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61032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3" y="1234800"/>
            <a:ext cx="3424099" cy="493005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730" y="1234800"/>
            <a:ext cx="6468532" cy="4930056"/>
          </a:xfrm>
        </p:spPr>
        <p:txBody>
          <a:bodyPr numCol="2" spcCol="28800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2DE79-CB72-4FDC-8AF5-48BFE4B5E58C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1ABA89F-6967-4891-BBC9-B97467E263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008D794-E52E-415D-A590-7A57C2F8C9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5914E27-6E0C-4EE5-8C41-FB9CE3FF2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5181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4EE6623-BC24-402B-8EB5-D526C12B74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75734" y="1234800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A526A5-3A4C-48F8-B3E5-74E7301C7588}"/>
              </a:ext>
            </a:extLst>
          </p:cNvPr>
          <p:cNvCxnSpPr/>
          <p:nvPr userDrawn="1"/>
        </p:nvCxnSpPr>
        <p:spPr>
          <a:xfrm>
            <a:off x="575734" y="6405418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9ADD2-C364-4BB6-B86F-CF9037B6D11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75734" y="3560103"/>
            <a:ext cx="3124645" cy="1929426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 marL="0" indent="0">
              <a:buNone/>
              <a:defRPr sz="1200" b="0"/>
            </a:lvl2pPr>
            <a:lvl3pPr marL="180000" indent="-216000">
              <a:buFont typeface="Arial" panose="020B0604020202020204" pitchFamily="34" charset="0"/>
              <a:buChar char="•"/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43A654E-F926-43AE-9D42-DF221FE71712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956051" y="1234801"/>
            <a:ext cx="7660216" cy="205898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4" name="Table Placeholder 4">
            <a:extLst>
              <a:ext uri="{FF2B5EF4-FFF2-40B4-BE49-F238E27FC236}">
                <a16:creationId xmlns:a16="http://schemas.microsoft.com/office/drawing/2014/main" id="{9C702231-BA00-4144-98D6-18E6F298266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955200" y="3593934"/>
            <a:ext cx="7660216" cy="2058987"/>
          </a:xfrm>
        </p:spPr>
        <p:txBody>
          <a:bodyPr/>
          <a:lstStyle/>
          <a:p>
            <a:endParaRPr lang="en-GB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DDF77F2-0CA7-4DA8-AE18-3D66CE3B9CFA}"/>
              </a:ext>
            </a:extLst>
          </p:cNvPr>
          <p:cNvCxnSpPr/>
          <p:nvPr userDrawn="1"/>
        </p:nvCxnSpPr>
        <p:spPr>
          <a:xfrm>
            <a:off x="575734" y="1062181"/>
            <a:ext cx="1104053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142342A-2050-4AC7-BD2F-624CFBC0FD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5198" y="313200"/>
            <a:ext cx="11041069" cy="68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200" b="1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2pPr>
            <a:lvl3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3pPr>
            <a:lvl4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4pPr>
            <a:lvl5pPr marL="0" indent="0">
              <a:lnSpc>
                <a:spcPts val="2500"/>
              </a:lnSpc>
              <a:spcAft>
                <a:spcPts val="0"/>
              </a:spcAft>
              <a:buNone/>
              <a:defRPr sz="22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6C54B936-0E70-4559-B5DD-6DE558FF1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F9FA9EE0-0E9B-4AC0-9AED-1BFC68EFD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6001" y="6454800"/>
            <a:ext cx="156304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245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65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15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43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42.xml"/><Relationship Id="rId16" Type="http://schemas.openxmlformats.org/officeDocument/2006/relationships/theme" Target="../theme/theme9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5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415635"/>
            <a:ext cx="11040000" cy="3186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46907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463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68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415635"/>
            <a:ext cx="11040000" cy="3186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46907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287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</p:sldLayoutIdLst>
  <p:hf hd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68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415635"/>
            <a:ext cx="11040000" cy="3186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46907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842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</p:sldLayoutIdLst>
  <p:hf hdr="0" ft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68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415635"/>
            <a:ext cx="11040000" cy="3186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46907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159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hf hdr="0" ft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68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313201"/>
            <a:ext cx="11036300" cy="4741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34874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667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2646">
          <p15:clr>
            <a:srgbClr val="F26B43"/>
          </p15:clr>
        </p15:guide>
        <p15:guide id="3" orient="horz" pos="4070">
          <p15:clr>
            <a:srgbClr val="F26B43"/>
          </p15:clr>
        </p15:guide>
        <p15:guide id="4" pos="5486">
          <p15:clr>
            <a:srgbClr val="F26B43"/>
          </p15:clr>
        </p15:guide>
        <p15:guide id="5" pos="264">
          <p15:clr>
            <a:srgbClr val="F26B43"/>
          </p15:clr>
        </p15:guide>
        <p15:guide id="6" orient="horz" pos="3558">
          <p15:clr>
            <a:srgbClr val="F26B43"/>
          </p15:clr>
        </p15:guide>
        <p15:guide id="7" orient="horz" pos="801">
          <p15:clr>
            <a:srgbClr val="F26B43"/>
          </p15:clr>
        </p15:guide>
        <p15:guide id="8" orient="horz" pos="169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313201"/>
            <a:ext cx="11036300" cy="4741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34874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59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2646">
          <p15:clr>
            <a:srgbClr val="F26B43"/>
          </p15:clr>
        </p15:guide>
        <p15:guide id="3" orient="horz" pos="4070">
          <p15:clr>
            <a:srgbClr val="F26B43"/>
          </p15:clr>
        </p15:guide>
        <p15:guide id="4" pos="5486">
          <p15:clr>
            <a:srgbClr val="F26B43"/>
          </p15:clr>
        </p15:guide>
        <p15:guide id="5" pos="264">
          <p15:clr>
            <a:srgbClr val="F26B43"/>
          </p15:clr>
        </p15:guide>
        <p15:guide id="6" orient="horz" pos="3558">
          <p15:clr>
            <a:srgbClr val="F26B43"/>
          </p15:clr>
        </p15:guide>
        <p15:guide id="7" orient="horz" pos="801">
          <p15:clr>
            <a:srgbClr val="F26B43"/>
          </p15:clr>
        </p15:guide>
        <p15:guide id="8" orient="horz" pos="169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313201"/>
            <a:ext cx="11036300" cy="4741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34874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8064" y="6427957"/>
            <a:ext cx="1173969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811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2646">
          <p15:clr>
            <a:srgbClr val="F26B43"/>
          </p15:clr>
        </p15:guide>
        <p15:guide id="3" orient="horz" pos="4070">
          <p15:clr>
            <a:srgbClr val="F26B43"/>
          </p15:clr>
        </p15:guide>
        <p15:guide id="4" pos="5486">
          <p15:clr>
            <a:srgbClr val="F26B43"/>
          </p15:clr>
        </p15:guide>
        <p15:guide id="5" pos="264">
          <p15:clr>
            <a:srgbClr val="F26B43"/>
          </p15:clr>
        </p15:guide>
        <p15:guide id="6" orient="horz" pos="3558">
          <p15:clr>
            <a:srgbClr val="F26B43"/>
          </p15:clr>
        </p15:guide>
        <p15:guide id="7" orient="horz" pos="801">
          <p15:clr>
            <a:srgbClr val="F26B43"/>
          </p15:clr>
        </p15:guide>
        <p15:guide id="8" orient="horz" pos="169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415635"/>
            <a:ext cx="11040000" cy="3186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46907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 here | Month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636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</p:sldLayoutIdLst>
  <p:hf hdr="0" ft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68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415635"/>
            <a:ext cx="11040000" cy="3186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246907"/>
            <a:ext cx="9192000" cy="4930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5733" y="6442544"/>
            <a:ext cx="4944000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>
                <a:solidFill>
                  <a:srgbClr val="183E75"/>
                </a:solidFill>
              </a:rPr>
              <a:t>Presentation title here | Month 2019</a:t>
            </a:r>
            <a:endParaRPr lang="en-US" dirty="0">
              <a:solidFill>
                <a:srgbClr val="183E7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26100" y="6444001"/>
            <a:ext cx="9779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>
                <a:solidFill>
                  <a:srgbClr val="183E75"/>
                </a:solidFill>
              </a:rPr>
              <a:pPr/>
              <a:t>‹#›</a:t>
            </a:fld>
            <a:endParaRPr lang="en-US" dirty="0">
              <a:solidFill>
                <a:srgbClr val="183E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577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</p:sldLayoutIdLst>
  <p:hf hdr="0" ft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68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ts val="168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1319E8F-D5FB-48EC-90A9-BB1A54FBD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1319E8F-D5FB-48EC-90A9-BB1A54FBD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84431E-1D47-40BB-A833-235D679C4AA3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733" y="415635"/>
            <a:ext cx="8592000" cy="3186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733" y="1332000"/>
            <a:ext cx="9192000" cy="46720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5733" y="6444000"/>
            <a:ext cx="6333067" cy="226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here | Month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00273" y="6444000"/>
            <a:ext cx="928201" cy="237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8A74B61-50D3-3946-8366-1E447A2A843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7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</p:sldLayoutIdLst>
  <p:hf hdr="0" ft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7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216000" algn="l" defTabSz="914400" rtl="0" eaLnBrk="1" latinLnBrk="0" hangingPunct="1">
        <a:lnSpc>
          <a:spcPts val="17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216000" algn="l" defTabSz="914400" rtl="0" eaLnBrk="1" latinLnBrk="0" hangingPunct="1">
        <a:lnSpc>
          <a:spcPts val="17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395288" indent="-179388" algn="l" defTabSz="914400" rtl="0" eaLnBrk="1" latinLnBrk="0" hangingPunct="1">
        <a:lnSpc>
          <a:spcPts val="17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79388" algn="l" defTabSz="914400" rtl="0" eaLnBrk="1" latinLnBrk="0" hangingPunct="1">
        <a:lnSpc>
          <a:spcPts val="17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597A164-D57B-4AE1-A0B8-5C1D896AB6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000" y="1606523"/>
            <a:ext cx="8691289" cy="1050505"/>
          </a:xfrm>
        </p:spPr>
        <p:txBody>
          <a:bodyPr/>
          <a:lstStyle/>
          <a:p>
            <a:r>
              <a:rPr lang="en-GB" dirty="0" smtClean="0"/>
              <a:t>COVID-19: Causes for change and optimism panel presentation:  Healthcare related fallout</a:t>
            </a:r>
            <a:endParaRPr lang="en-GB" dirty="0"/>
          </a:p>
        </p:txBody>
      </p:sp>
      <p:sp>
        <p:nvSpPr>
          <p:cNvPr id="15" name="Subtitle 14">
            <a:extLst>
              <a:ext uri="{FF2B5EF4-FFF2-40B4-BE49-F238E27FC236}">
                <a16:creationId xmlns:a16="http://schemas.microsoft.com/office/drawing/2014/main" id="{D4AABA6C-01ED-4757-A715-A4CA3C4944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00" y="3297176"/>
            <a:ext cx="7866856" cy="1050505"/>
          </a:xfrm>
        </p:spPr>
        <p:txBody>
          <a:bodyPr/>
          <a:lstStyle/>
          <a:p>
            <a:r>
              <a:rPr lang="en-GB" sz="2000" dirty="0" smtClean="0"/>
              <a:t>Presented by Matthew C. </a:t>
            </a:r>
            <a:r>
              <a:rPr lang="en-GB" sz="2000" dirty="0" err="1" smtClean="0"/>
              <a:t>Germak</a:t>
            </a:r>
            <a:r>
              <a:rPr lang="en-GB" sz="2000" dirty="0" smtClean="0"/>
              <a:t>, MD, MPH</a:t>
            </a:r>
          </a:p>
          <a:p>
            <a:r>
              <a:rPr lang="en-GB" sz="2000" dirty="0" smtClean="0"/>
              <a:t>Chief Quality and Safety Officer</a:t>
            </a:r>
          </a:p>
          <a:p>
            <a:r>
              <a:rPr lang="en-GB" sz="2000" dirty="0" smtClean="0"/>
              <a:t>Beth Israel </a:t>
            </a:r>
            <a:r>
              <a:rPr lang="en-GB" sz="2000" dirty="0" err="1" smtClean="0"/>
              <a:t>Lahey</a:t>
            </a:r>
            <a:r>
              <a:rPr lang="en-GB" sz="2000" dirty="0" smtClean="0"/>
              <a:t> Health Primary Care</a:t>
            </a:r>
          </a:p>
          <a:p>
            <a:endParaRPr lang="en-GB" sz="2000" dirty="0"/>
          </a:p>
          <a:p>
            <a:r>
              <a:rPr lang="en-GB" sz="2000" dirty="0" smtClean="0"/>
              <a:t>Regis College President’s Lecture Series</a:t>
            </a:r>
          </a:p>
          <a:p>
            <a:r>
              <a:rPr lang="en-GB" sz="2000" dirty="0" smtClean="0"/>
              <a:t>April 7, 2021</a:t>
            </a:r>
          </a:p>
        </p:txBody>
      </p:sp>
    </p:spTree>
    <p:extLst>
      <p:ext uri="{BB962C8B-B14F-4D97-AF65-F5344CB8AC3E}">
        <p14:creationId xmlns:p14="http://schemas.microsoft.com/office/powerpoint/2010/main" val="1513429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A74B61-50D3-3946-8366-1E447A2A843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4349" y="370234"/>
            <a:ext cx="95954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 Experience During the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VID-19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ndemic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4350" y="1221904"/>
            <a:ext cx="1104900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March – June 2020, performed patient outreach calls to assess patients’ engagement and satisfaction with telemedicine visits (600+ call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98% were “satisfied or very satisfi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summer of 2020, performed outreach call to assess patients’ engagement and satisfaction with in-person visits at re-opened practices (1,000+ call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99.5% reported feeling safe during their vis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8.3% of patients reported being “satisfied” or “very satisfied”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fall of 2020, created QR codes which were displayed in the practices to get real time patient feedback (400+ digital response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3% reported they were “very satisfied”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their health care needs being met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winter of 2021, performed patient outreach calls and sent digital surveys to patients receiving vaccines at our clinics (3,000 response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87.4% reported they felt safe in our ca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750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pid Response and Preparedness:  Overnight Shift to Virtual Care Deliver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BILH Primary Care Visit Volume: March 2020 – February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575732" y="1941095"/>
            <a:ext cx="11040000" cy="4416946"/>
            <a:chOff x="431799" y="2381459"/>
            <a:chExt cx="8319913" cy="3976582"/>
          </a:xfrm>
        </p:grpSpPr>
        <p:grpSp>
          <p:nvGrpSpPr>
            <p:cNvPr id="14" name="Group 13"/>
            <p:cNvGrpSpPr/>
            <p:nvPr/>
          </p:nvGrpSpPr>
          <p:grpSpPr>
            <a:xfrm>
              <a:off x="431799" y="2381459"/>
              <a:ext cx="8319913" cy="3976582"/>
              <a:chOff x="391886" y="2381460"/>
              <a:chExt cx="8319913" cy="3976582"/>
            </a:xfrm>
          </p:grpSpPr>
          <p:graphicFrame>
            <p:nvGraphicFramePr>
              <p:cNvPr id="16" name="Chart 15"/>
              <p:cNvGraphicFramePr/>
              <p:nvPr>
                <p:extLst>
                  <p:ext uri="{D42A27DB-BD31-4B8C-83A1-F6EECF244321}">
                    <p14:modId xmlns:p14="http://schemas.microsoft.com/office/powerpoint/2010/main" val="537316749"/>
                  </p:ext>
                </p:extLst>
              </p:nvPr>
            </p:nvGraphicFramePr>
            <p:xfrm>
              <a:off x="391886" y="2381460"/>
              <a:ext cx="8319913" cy="397658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cxnSp>
            <p:nvCxnSpPr>
              <p:cNvPr id="17" name="Straight Connector 16"/>
              <p:cNvCxnSpPr/>
              <p:nvPr/>
            </p:nvCxnSpPr>
            <p:spPr>
              <a:xfrm>
                <a:off x="1150678" y="3178045"/>
                <a:ext cx="7259897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TextBox 14"/>
            <p:cNvSpPr txBox="1"/>
            <p:nvPr/>
          </p:nvSpPr>
          <p:spPr>
            <a:xfrm>
              <a:off x="1071693" y="3008767"/>
              <a:ext cx="1690772" cy="3352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Historical (Pre-COVID) volume ~75,000 visits per month</a:t>
              </a:r>
            </a:p>
          </p:txBody>
        </p:sp>
      </p:grp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575732" y="1246907"/>
            <a:ext cx="11039999" cy="70372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800" dirty="0"/>
              <a:t>Telehealth </a:t>
            </a:r>
            <a:r>
              <a:rPr lang="en-US" sz="1800" dirty="0" smtClean="0"/>
              <a:t>is currently </a:t>
            </a:r>
            <a:r>
              <a:rPr lang="en-US" sz="1800" dirty="0"/>
              <a:t>~40% of total </a:t>
            </a:r>
            <a:r>
              <a:rPr lang="en-US" sz="1800" dirty="0" smtClean="0"/>
              <a:t>BILH Primary Care </a:t>
            </a:r>
            <a:r>
              <a:rPr lang="en-US" sz="1800" dirty="0"/>
              <a:t>visit </a:t>
            </a:r>
            <a:r>
              <a:rPr lang="en-US" sz="1800" dirty="0" smtClean="0"/>
              <a:t>volum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800" dirty="0" smtClean="0"/>
              <a:t>Video visits are currently 75% of total telehealth visits. In March 2020, video visits were only 30% of total telehealth visit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9466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pid Response and Preparedness</a:t>
            </a:r>
            <a:r>
              <a:rPr lang="en-US" dirty="0" smtClean="0"/>
              <a:t>:  Seismic Shift in Care Delivery Mod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BILH Primary Care: COVID-19 Surge Cohort Model Approach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8A74B61-50D3-3946-8366-1E447A2A8431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7908" y="1642782"/>
            <a:ext cx="2394622" cy="4646919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575732" y="1186941"/>
            <a:ext cx="2969572" cy="3642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 smtClean="0"/>
              <a:t>All BILH Primary Care Practices</a:t>
            </a:r>
            <a:endParaRPr lang="en-US" sz="1300" b="1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31" y="1648043"/>
            <a:ext cx="2969573" cy="46451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33F578D-B9FE-40A5-8539-225C39609DA9}"/>
              </a:ext>
            </a:extLst>
          </p:cNvPr>
          <p:cNvSpPr txBox="1"/>
          <p:nvPr/>
        </p:nvSpPr>
        <p:spPr>
          <a:xfrm>
            <a:off x="4125494" y="1608173"/>
            <a:ext cx="4492224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2"/>
                </a:solidFill>
              </a:rPr>
              <a:t>BILH primary </a:t>
            </a:r>
            <a:r>
              <a:rPr lang="en-US" sz="2000" dirty="0">
                <a:solidFill>
                  <a:schemeClr val="tx2"/>
                </a:solidFill>
              </a:rPr>
              <a:t>care providers </a:t>
            </a:r>
            <a:r>
              <a:rPr lang="en-US" sz="2000" dirty="0" smtClean="0">
                <a:solidFill>
                  <a:schemeClr val="tx2"/>
                </a:solidFill>
              </a:rPr>
              <a:t>are </a:t>
            </a:r>
            <a:r>
              <a:rPr lang="en-US" sz="2000" b="1" dirty="0" smtClean="0">
                <a:solidFill>
                  <a:schemeClr val="tx2"/>
                </a:solidFill>
              </a:rPr>
              <a:t>located at over 85 </a:t>
            </a:r>
            <a:r>
              <a:rPr lang="en-US" sz="2000" b="1" dirty="0">
                <a:solidFill>
                  <a:schemeClr val="tx2"/>
                </a:solidFill>
              </a:rPr>
              <a:t>practices </a:t>
            </a:r>
            <a:r>
              <a:rPr lang="en-US" sz="2000" dirty="0">
                <a:solidFill>
                  <a:schemeClr val="tx2"/>
                </a:solidFill>
              </a:rPr>
              <a:t>throughout Eastern </a:t>
            </a:r>
            <a:r>
              <a:rPr lang="en-US" sz="2000" dirty="0" smtClean="0">
                <a:solidFill>
                  <a:schemeClr val="tx2"/>
                </a:solidFill>
              </a:rPr>
              <a:t>Massachusetts, within 3 legacy organization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tx2"/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en-US" sz="2000" dirty="0" smtClean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en-US" sz="2000" dirty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en-US" sz="2000" dirty="0">
              <a:solidFill>
                <a:schemeClr val="tx2"/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2"/>
                </a:solidFill>
              </a:rPr>
              <a:t>In the first surge and lockdown phase, BILH moved to a cohort site model to see patients in-person </a:t>
            </a:r>
            <a:r>
              <a:rPr lang="en-US" sz="2000" b="1" dirty="0" smtClean="0">
                <a:solidFill>
                  <a:schemeClr val="tx2"/>
                </a:solidFill>
              </a:rPr>
              <a:t>(14 cohort sites open)</a:t>
            </a:r>
          </a:p>
        </p:txBody>
      </p:sp>
      <p:sp>
        <p:nvSpPr>
          <p:cNvPr id="24" name="Rectangle 23"/>
          <p:cNvSpPr/>
          <p:nvPr/>
        </p:nvSpPr>
        <p:spPr>
          <a:xfrm>
            <a:off x="9176045" y="1186941"/>
            <a:ext cx="2416485" cy="3607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 smtClean="0"/>
              <a:t>COVID-19 Cohort Sites</a:t>
            </a:r>
            <a:endParaRPr lang="en-US" sz="1300" b="1" dirty="0"/>
          </a:p>
        </p:txBody>
      </p:sp>
      <p:sp>
        <p:nvSpPr>
          <p:cNvPr id="13" name="Right Arrow 12"/>
          <p:cNvSpPr/>
          <p:nvPr/>
        </p:nvSpPr>
        <p:spPr>
          <a:xfrm>
            <a:off x="3886200" y="3380894"/>
            <a:ext cx="5105400" cy="1009650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Cohort Approach: March 2020 – June 2020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66120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702" y="463385"/>
            <a:ext cx="10774790" cy="516484"/>
          </a:xfrm>
        </p:spPr>
        <p:txBody>
          <a:bodyPr/>
          <a:lstStyle/>
          <a:p>
            <a:endParaRPr lang="en-US" sz="2400" dirty="0">
              <a:solidFill>
                <a:srgbClr val="183E7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A74B61-50D3-3946-8366-1E447A2A843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4021" t="28042" r="23605" b="26369"/>
          <a:stretch/>
        </p:blipFill>
        <p:spPr>
          <a:xfrm>
            <a:off x="397622" y="234314"/>
            <a:ext cx="11375278" cy="5995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840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pid Response and Preparedness</a:t>
            </a:r>
            <a:r>
              <a:rPr lang="en-US" dirty="0" smtClean="0"/>
              <a:t>:  Safety Protocol Implementation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575732" y="1187750"/>
            <a:ext cx="10869678" cy="4930056"/>
          </a:xfrm>
        </p:spPr>
        <p:txBody>
          <a:bodyPr/>
          <a:lstStyle/>
          <a:p>
            <a:r>
              <a:rPr lang="en-US" b="1" u="sng" dirty="0" smtClean="0"/>
              <a:t>Rapid development and implementation, as well as sustainability: </a:t>
            </a:r>
            <a:endParaRPr lang="en-US" b="1" u="sng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hree-point pre-visit COVID-19 scree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Virtual rooming, check-in, check-o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Visitor restri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Personal Protective Equip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nhanced disinfection protocols</a:t>
            </a:r>
          </a:p>
          <a:p>
            <a:pPr marL="918900" lvl="4" indent="-342900"/>
            <a:r>
              <a:rPr lang="en-US" dirty="0"/>
              <a:t>Waiting rooms closed, </a:t>
            </a:r>
            <a:r>
              <a:rPr lang="en-US" dirty="0" err="1"/>
              <a:t>plexiglass</a:t>
            </a:r>
            <a:r>
              <a:rPr lang="en-US" dirty="0"/>
              <a:t> install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b="1" u="sng" dirty="0" smtClean="0"/>
              <a:t>Implication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u="sng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Operational:  increased visit length, reduced number of team members on-site, decreased throughp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re team safety and wellbeing:  stress, fatigue, need for enhanced structured team communication (e.g., huddles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Numerous new protocols and workflows to support patient and workplace safe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A74B61-50D3-3946-8366-1E447A2A843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159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ndemic Focusing a Lens on Health Dispariti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MA DPH COVID Data by Race/Ethnicity: 2/28/21 – 3/13/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5626100" y="6443663"/>
            <a:ext cx="977900" cy="238125"/>
          </a:xfrm>
        </p:spPr>
        <p:txBody>
          <a:bodyPr/>
          <a:lstStyle/>
          <a:p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9977414" y="2872255"/>
            <a:ext cx="1847851" cy="24226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MA </a:t>
            </a:r>
            <a:r>
              <a:rPr lang="en-US" sz="1400" b="1" dirty="0"/>
              <a:t>Race/Ethnicity Demographic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te: 70.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lack: 7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spanic: 12.4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sian: 6.7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merican Indian/Alaska Native: 0.2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02FFED-08B1-7241-941B-6022DEE52683}"/>
              </a:ext>
            </a:extLst>
          </p:cNvPr>
          <p:cNvSpPr txBox="1"/>
          <p:nvPr/>
        </p:nvSpPr>
        <p:spPr>
          <a:xfrm>
            <a:off x="572472" y="3852735"/>
            <a:ext cx="5035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Other</a:t>
            </a:r>
            <a:endParaRPr lang="en-US" sz="9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F14692-6F07-4C49-8E21-C434852F5F32}"/>
              </a:ext>
            </a:extLst>
          </p:cNvPr>
          <p:cNvSpPr txBox="1"/>
          <p:nvPr/>
        </p:nvSpPr>
        <p:spPr>
          <a:xfrm>
            <a:off x="883613" y="5041546"/>
            <a:ext cx="76386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Unknow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280EACB-789E-A044-8EED-D17709EAFE57}"/>
              </a:ext>
            </a:extLst>
          </p:cNvPr>
          <p:cNvSpPr txBox="1"/>
          <p:nvPr/>
        </p:nvSpPr>
        <p:spPr>
          <a:xfrm>
            <a:off x="313769" y="4712238"/>
            <a:ext cx="6361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Hispanic (12.4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BC644E-F90A-224F-954D-24CB0FB798A3}"/>
              </a:ext>
            </a:extLst>
          </p:cNvPr>
          <p:cNvSpPr txBox="1"/>
          <p:nvPr/>
        </p:nvSpPr>
        <p:spPr>
          <a:xfrm>
            <a:off x="388948" y="4056269"/>
            <a:ext cx="50356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dirty="0">
                <a:solidFill>
                  <a:schemeClr val="bg1"/>
                </a:solidFill>
              </a:rPr>
              <a:t>Black</a:t>
            </a:r>
          </a:p>
          <a:p>
            <a:r>
              <a:rPr lang="en-US" sz="850" dirty="0">
                <a:solidFill>
                  <a:schemeClr val="bg1"/>
                </a:solidFill>
              </a:rPr>
              <a:t>    </a:t>
            </a:r>
            <a:r>
              <a:rPr lang="en-US" sz="800" dirty="0">
                <a:solidFill>
                  <a:schemeClr val="bg1"/>
                </a:solidFill>
              </a:rPr>
              <a:t>(7)</a:t>
            </a:r>
            <a:endParaRPr lang="en-US" sz="850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77DC15A-0EBF-4F44-88C1-B5CA704BB09E}"/>
              </a:ext>
            </a:extLst>
          </p:cNvPr>
          <p:cNvSpPr txBox="1"/>
          <p:nvPr/>
        </p:nvSpPr>
        <p:spPr>
          <a:xfrm>
            <a:off x="1232201" y="4299646"/>
            <a:ext cx="7230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dirty="0">
                <a:solidFill>
                  <a:schemeClr val="bg1"/>
                </a:solidFill>
              </a:rPr>
              <a:t>White</a:t>
            </a:r>
          </a:p>
          <a:p>
            <a:r>
              <a:rPr lang="en-US" sz="850" dirty="0">
                <a:solidFill>
                  <a:schemeClr val="bg1"/>
                </a:solidFill>
              </a:rPr>
              <a:t>(70.5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8A2C52E-326C-6F4A-857B-AC7A57C73812}"/>
              </a:ext>
            </a:extLst>
          </p:cNvPr>
          <p:cNvSpPr txBox="1"/>
          <p:nvPr/>
        </p:nvSpPr>
        <p:spPr>
          <a:xfrm>
            <a:off x="883613" y="3916281"/>
            <a:ext cx="5035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Asian</a:t>
            </a:r>
          </a:p>
          <a:p>
            <a:r>
              <a:rPr lang="en-US" sz="900" dirty="0">
                <a:solidFill>
                  <a:schemeClr val="bg1"/>
                </a:solidFill>
              </a:rPr>
              <a:t>(7)</a:t>
            </a:r>
          </a:p>
        </p:txBody>
      </p:sp>
      <p:sp>
        <p:nvSpPr>
          <p:cNvPr id="10" name="Rectangle 9"/>
          <p:cNvSpPr/>
          <p:nvPr/>
        </p:nvSpPr>
        <p:spPr>
          <a:xfrm>
            <a:off x="568335" y="1150165"/>
            <a:ext cx="11054793" cy="6626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MA DPH Data: Cases, Hospitalizations, and Deaths by Race / Ethnicity</a:t>
            </a:r>
          </a:p>
          <a:p>
            <a:pPr algn="ctr"/>
            <a:r>
              <a:rPr lang="en-US" b="1" dirty="0" smtClean="0"/>
              <a:t>2/28/21 – 3/13/21</a:t>
            </a:r>
            <a:endParaRPr lang="en-US" b="1" dirty="0"/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0563586"/>
              </p:ext>
            </p:extLst>
          </p:nvPr>
        </p:nvGraphicFramePr>
        <p:xfrm>
          <a:off x="-812486" y="1937518"/>
          <a:ext cx="5082772" cy="392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9069461"/>
              </p:ext>
            </p:extLst>
          </p:nvPr>
        </p:nvGraphicFramePr>
        <p:xfrm>
          <a:off x="2370933" y="1924050"/>
          <a:ext cx="4938394" cy="3953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Rectangle 22"/>
          <p:cNvSpPr/>
          <p:nvPr/>
        </p:nvSpPr>
        <p:spPr>
          <a:xfrm>
            <a:off x="575732" y="5934282"/>
            <a:ext cx="1726996" cy="34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White, non-Hispanic</a:t>
            </a:r>
            <a:endParaRPr lang="en-US" sz="1000" dirty="0"/>
          </a:p>
        </p:txBody>
      </p:sp>
      <p:sp>
        <p:nvSpPr>
          <p:cNvPr id="24" name="Rectangle 23"/>
          <p:cNvSpPr/>
          <p:nvPr/>
        </p:nvSpPr>
        <p:spPr>
          <a:xfrm>
            <a:off x="4259389" y="5931020"/>
            <a:ext cx="1726996" cy="355237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Hispanic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>
          <a:xfrm>
            <a:off x="2431393" y="5926240"/>
            <a:ext cx="1726996" cy="36479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lack or African American, Non-Hispanic</a:t>
            </a:r>
            <a:endParaRPr lang="en-US" sz="1000" dirty="0"/>
          </a:p>
        </p:txBody>
      </p:sp>
      <p:sp>
        <p:nvSpPr>
          <p:cNvPr id="26" name="Rectangle 25"/>
          <p:cNvSpPr/>
          <p:nvPr/>
        </p:nvSpPr>
        <p:spPr>
          <a:xfrm>
            <a:off x="6115050" y="5931020"/>
            <a:ext cx="1726996" cy="35523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sian, non-Hispanic</a:t>
            </a:r>
            <a:endParaRPr lang="en-US" sz="1000" dirty="0"/>
          </a:p>
        </p:txBody>
      </p:sp>
      <p:sp>
        <p:nvSpPr>
          <p:cNvPr id="27" name="Rectangle 26"/>
          <p:cNvSpPr/>
          <p:nvPr/>
        </p:nvSpPr>
        <p:spPr>
          <a:xfrm>
            <a:off x="7997155" y="5926240"/>
            <a:ext cx="1718139" cy="364796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Other race, non-Hispanic</a:t>
            </a:r>
            <a:endParaRPr lang="en-US" sz="1000" dirty="0"/>
          </a:p>
        </p:txBody>
      </p:sp>
      <p:sp>
        <p:nvSpPr>
          <p:cNvPr id="28" name="Rectangle 27"/>
          <p:cNvSpPr/>
          <p:nvPr/>
        </p:nvSpPr>
        <p:spPr>
          <a:xfrm>
            <a:off x="9870403" y="5926240"/>
            <a:ext cx="1718139" cy="36479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Unknown, missing, or refused</a:t>
            </a:r>
            <a:endParaRPr lang="en-US" sz="1000" dirty="0"/>
          </a:p>
        </p:txBody>
      </p:sp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0781865"/>
              </p:ext>
            </p:extLst>
          </p:nvPr>
        </p:nvGraphicFramePr>
        <p:xfrm>
          <a:off x="5039020" y="1897135"/>
          <a:ext cx="6549522" cy="4162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6713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mtClean="0"/>
              <a:t>BILH Patient Vaccination Outreach Approach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A74B61-50D3-3946-8366-1E447A2A843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83E7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83E7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53425" y="1356024"/>
            <a:ext cx="3262307" cy="45243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itia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utreach utilized a combination of text and email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vitati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n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ients booked appointments through text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spons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igible patients without an email or cell phone, BILH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nds out computer-assiste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hone messages inviting patients to call the BILH scheduling assistance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ient materials are translated into several languages and interpreter services are availab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25" name="Content Placeholder 24"/>
          <p:cNvGraphicFramePr>
            <a:graphicFrameLocks noGrp="1"/>
          </p:cNvGraphicFramePr>
          <p:nvPr>
            <p:ph idx="1"/>
            <p:extLst/>
          </p:nvPr>
        </p:nvGraphicFramePr>
        <p:xfrm>
          <a:off x="576264" y="1246188"/>
          <a:ext cx="7573126" cy="4930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74093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702" y="463385"/>
            <a:ext cx="10774790" cy="516484"/>
          </a:xfrm>
        </p:spPr>
        <p:txBody>
          <a:bodyPr/>
          <a:lstStyle/>
          <a:p>
            <a:r>
              <a:rPr lang="en-US" sz="2400" dirty="0"/>
              <a:t>T</a:t>
            </a:r>
            <a:r>
              <a:rPr lang="en-US" sz="2400" dirty="0" smtClean="0"/>
              <a:t>he Silent Pandemic</a:t>
            </a:r>
            <a:endParaRPr lang="en-US" sz="2400" dirty="0">
              <a:solidFill>
                <a:srgbClr val="183E7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A74B61-50D3-3946-8366-1E447A2A843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1099196" cy="493005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000" b="1" dirty="0"/>
              <a:t>Bereavement </a:t>
            </a:r>
            <a:r>
              <a:rPr lang="en-US" sz="2000" dirty="0"/>
              <a:t>- loss of someone or </a:t>
            </a:r>
            <a:r>
              <a:rPr lang="en-US" sz="2000" dirty="0" smtClean="0"/>
              <a:t>something </a:t>
            </a:r>
            <a:r>
              <a:rPr lang="en-US" sz="2000" dirty="0"/>
              <a:t>due to the </a:t>
            </a:r>
            <a:r>
              <a:rPr lang="en-US" sz="2000" dirty="0" smtClean="0"/>
              <a:t>pandemic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en-US" sz="2000" b="1" dirty="0"/>
              <a:t>Social isolation </a:t>
            </a:r>
            <a:r>
              <a:rPr lang="en-US" sz="2000" dirty="0"/>
              <a:t>- not being able to meet with family, friends, neighbors, </a:t>
            </a:r>
            <a:r>
              <a:rPr lang="en-US" sz="2000" dirty="0" smtClean="0"/>
              <a:t>colleagues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en-US" sz="2000" b="1" dirty="0"/>
              <a:t>Loss of income </a:t>
            </a:r>
            <a:r>
              <a:rPr lang="en-US" sz="2000" dirty="0"/>
              <a:t>- unemployment, insurance, child </a:t>
            </a:r>
            <a:r>
              <a:rPr lang="en-US" sz="2000" dirty="0" smtClean="0"/>
              <a:t>care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en-US" sz="2000" b="1" dirty="0"/>
              <a:t>Front line workers </a:t>
            </a:r>
            <a:r>
              <a:rPr lang="en-US" sz="2000" dirty="0"/>
              <a:t>- trauma associated with </a:t>
            </a:r>
            <a:r>
              <a:rPr lang="en-US" sz="2000" dirty="0" smtClean="0"/>
              <a:t>work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en-US" sz="2000" b="1" dirty="0"/>
              <a:t>Remote learning </a:t>
            </a:r>
            <a:r>
              <a:rPr lang="en-US" sz="2000" dirty="0"/>
              <a:t>- families impacted by change in routine 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Media</a:t>
            </a:r>
            <a:r>
              <a:rPr lang="en-US" sz="2000" dirty="0"/>
              <a:t> - politically induced stress</a:t>
            </a:r>
          </a:p>
          <a:p>
            <a:r>
              <a:rPr lang="en-US" sz="2000" b="1" dirty="0"/>
              <a:t>Underlying mental health conditions </a:t>
            </a:r>
            <a:r>
              <a:rPr lang="en-US" sz="2000" dirty="0"/>
              <a:t>–</a:t>
            </a:r>
          </a:p>
          <a:p>
            <a:pPr lvl="1"/>
            <a:r>
              <a:rPr lang="en-US" sz="2000" dirty="0"/>
              <a:t>exacerbated or triggered by the pandemic (anxiety and depression, major mental illness)</a:t>
            </a:r>
          </a:p>
          <a:p>
            <a:pPr lvl="1"/>
            <a:r>
              <a:rPr lang="en-US" sz="2000" dirty="0"/>
              <a:t>Surge in suicide rates and domestic violence</a:t>
            </a:r>
          </a:p>
          <a:p>
            <a:pPr lvl="1"/>
            <a:r>
              <a:rPr lang="en-US" sz="2000" dirty="0"/>
              <a:t>Increased levels of alcohol and drug use</a:t>
            </a:r>
          </a:p>
          <a:p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6263" y="706438"/>
            <a:ext cx="11039475" cy="358775"/>
          </a:xfrm>
        </p:spPr>
        <p:txBody>
          <a:bodyPr/>
          <a:lstStyle/>
          <a:p>
            <a:r>
              <a:rPr lang="en-US" dirty="0" smtClean="0"/>
              <a:t>Multi-factorial Increased Risk for Worsened Mental Heal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4965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702" y="463385"/>
            <a:ext cx="8280000" cy="324000"/>
          </a:xfrm>
        </p:spPr>
        <p:txBody>
          <a:bodyPr/>
          <a:lstStyle/>
          <a:p>
            <a:r>
              <a:rPr lang="en-US" sz="2400" dirty="0" smtClean="0"/>
              <a:t>Light at the End of the Tunnel…</a:t>
            </a:r>
            <a:endParaRPr lang="en-US" sz="2400" dirty="0">
              <a:solidFill>
                <a:srgbClr val="183E7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A74B61-50D3-3946-8366-1E447A2A843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733" y="1246907"/>
            <a:ext cx="10723638" cy="4930056"/>
          </a:xfrm>
        </p:spPr>
        <p:txBody>
          <a:bodyPr/>
          <a:lstStyle/>
          <a:p>
            <a:r>
              <a:rPr lang="en-US" b="1" dirty="0"/>
              <a:t>Behavioral health issues to the forefront-ex. Michelle </a:t>
            </a:r>
            <a:r>
              <a:rPr lang="en-US" b="1" dirty="0" smtClean="0"/>
              <a:t>Obama, Carson Daly, Kevin Love, Michael Phelps</a:t>
            </a:r>
          </a:p>
          <a:p>
            <a:endParaRPr lang="en-US" b="1" dirty="0"/>
          </a:p>
          <a:p>
            <a:r>
              <a:rPr lang="en-US" b="1" dirty="0"/>
              <a:t>Providers have come together to address impact of the pandemic-some clinicians offering free services. </a:t>
            </a:r>
            <a:r>
              <a:rPr lang="en-US" b="1" u="sng" dirty="0"/>
              <a:t>https://</a:t>
            </a:r>
            <a:r>
              <a:rPr lang="en-US" b="1" u="sng" dirty="0" smtClean="0"/>
              <a:t>www.emotionalppe.org/</a:t>
            </a:r>
            <a:endParaRPr lang="en-US" b="1" u="sng" dirty="0"/>
          </a:p>
          <a:p>
            <a:endParaRPr lang="en-US" b="1" u="sng" dirty="0" smtClean="0"/>
          </a:p>
          <a:p>
            <a:r>
              <a:rPr lang="en-US" b="1" dirty="0" smtClean="0"/>
              <a:t>BILH </a:t>
            </a:r>
            <a:r>
              <a:rPr lang="en-US" b="1" dirty="0"/>
              <a:t>and other employers are offering EAP programs, support groups for                                                 employees, moments of </a:t>
            </a:r>
            <a:r>
              <a:rPr lang="en-US" b="1" dirty="0" smtClean="0"/>
              <a:t>reflection</a:t>
            </a:r>
          </a:p>
          <a:p>
            <a:endParaRPr lang="en-US" b="1" dirty="0"/>
          </a:p>
          <a:p>
            <a:r>
              <a:rPr lang="en-US" b="1" dirty="0"/>
              <a:t>Insurance companies offering free wellness programs </a:t>
            </a:r>
            <a:r>
              <a:rPr lang="en-US" b="1" dirty="0" smtClean="0"/>
              <a:t>virtually</a:t>
            </a:r>
          </a:p>
          <a:p>
            <a:endParaRPr lang="en-US" b="1" dirty="0"/>
          </a:p>
          <a:p>
            <a:r>
              <a:rPr lang="en-US" b="1" dirty="0"/>
              <a:t>Virtual therapy and psychiatry, as well as online programs such as AA, Partial and Intensive Out-Patient Programs are most likely here to </a:t>
            </a:r>
            <a:r>
              <a:rPr lang="en-US" b="1" dirty="0" smtClean="0"/>
              <a:t>stay</a:t>
            </a:r>
          </a:p>
          <a:p>
            <a:endParaRPr lang="en-US" b="1" dirty="0"/>
          </a:p>
          <a:p>
            <a:r>
              <a:rPr lang="en-US" b="1" dirty="0"/>
              <a:t>Hope and Resilience</a:t>
            </a:r>
          </a:p>
          <a:p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lvl="0" fontAlgn="base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2122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hgW0N2pOsK1Dmrr3EifQ"/>
</p:tagLst>
</file>

<file path=ppt/theme/theme1.xml><?xml version="1.0" encoding="utf-8"?>
<a:theme xmlns:a="http://schemas.openxmlformats.org/drawingml/2006/main" name="1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A9A9A9"/>
      </a:lt2>
      <a:accent1>
        <a:srgbClr val="183E75"/>
      </a:accent1>
      <a:accent2>
        <a:srgbClr val="0069B4"/>
      </a:accent2>
      <a:accent3>
        <a:srgbClr val="009EDF"/>
      </a:accent3>
      <a:accent4>
        <a:srgbClr val="784B98"/>
      </a:accent4>
      <a:accent5>
        <a:srgbClr val="F48F0C"/>
      </a:accent5>
      <a:accent6>
        <a:srgbClr val="F6C424"/>
      </a:accent6>
      <a:hlink>
        <a:srgbClr val="183E75"/>
      </a:hlink>
      <a:folHlink>
        <a:srgbClr val="5A5A5A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lf-care Resources_March2020" id="{B74F3293-9A34-460C-A15F-EED2B69898FA}" vid="{5A7AC586-289A-4983-B1D7-3E8CE82CDC85}"/>
    </a:ext>
  </a:extLst>
</a:theme>
</file>

<file path=ppt/theme/theme10.xml><?xml version="1.0" encoding="utf-8"?>
<a:theme xmlns:a="http://schemas.openxmlformats.org/drawingml/2006/main" name="6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A9A9A9"/>
      </a:lt2>
      <a:accent1>
        <a:srgbClr val="183E75"/>
      </a:accent1>
      <a:accent2>
        <a:srgbClr val="0069B4"/>
      </a:accent2>
      <a:accent3>
        <a:srgbClr val="009EDF"/>
      </a:accent3>
      <a:accent4>
        <a:srgbClr val="784B98"/>
      </a:accent4>
      <a:accent5>
        <a:srgbClr val="F48F0C"/>
      </a:accent5>
      <a:accent6>
        <a:srgbClr val="F6C424"/>
      </a:accent6>
      <a:hlink>
        <a:srgbClr val="183E75"/>
      </a:hlink>
      <a:folHlink>
        <a:srgbClr val="5A5A5A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lf-care Resources_March2020" id="{B74F3293-9A34-460C-A15F-EED2B69898FA}" vid="{5A7AC586-289A-4983-B1D7-3E8CE82CDC85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A9A9A9"/>
      </a:lt2>
      <a:accent1>
        <a:srgbClr val="183E75"/>
      </a:accent1>
      <a:accent2>
        <a:srgbClr val="0069B4"/>
      </a:accent2>
      <a:accent3>
        <a:srgbClr val="009EDF"/>
      </a:accent3>
      <a:accent4>
        <a:srgbClr val="784B98"/>
      </a:accent4>
      <a:accent5>
        <a:srgbClr val="F48F0C"/>
      </a:accent5>
      <a:accent6>
        <a:srgbClr val="F6C424"/>
      </a:accent6>
      <a:hlink>
        <a:srgbClr val="183E75"/>
      </a:hlink>
      <a:folHlink>
        <a:srgbClr val="5A5A5A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.16.2020 PFAC SlideDeck" id="{EB6C1E11-8424-4C01-A04D-F70C77ED91D8}" vid="{07B1C440-F449-477F-B68B-1E264857F7B9}"/>
    </a:ext>
  </a:extLst>
</a:theme>
</file>

<file path=ppt/theme/theme3.xml><?xml version="1.0" encoding="utf-8"?>
<a:theme xmlns:a="http://schemas.openxmlformats.org/drawingml/2006/main" name="2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A9A9A9"/>
      </a:lt2>
      <a:accent1>
        <a:srgbClr val="183E75"/>
      </a:accent1>
      <a:accent2>
        <a:srgbClr val="0069B4"/>
      </a:accent2>
      <a:accent3>
        <a:srgbClr val="009EDF"/>
      </a:accent3>
      <a:accent4>
        <a:srgbClr val="784B98"/>
      </a:accent4>
      <a:accent5>
        <a:srgbClr val="F48F0C"/>
      </a:accent5>
      <a:accent6>
        <a:srgbClr val="F6C424"/>
      </a:accent6>
      <a:hlink>
        <a:srgbClr val="183E75"/>
      </a:hlink>
      <a:folHlink>
        <a:srgbClr val="5A5A5A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.16.2020 PFAC SlideDeck" id="{EB6C1E11-8424-4C01-A04D-F70C77ED91D8}" vid="{07B1C440-F449-477F-B68B-1E264857F7B9}"/>
    </a:ext>
  </a:extLst>
</a:theme>
</file>

<file path=ppt/theme/theme4.xml><?xml version="1.0" encoding="utf-8"?>
<a:theme xmlns:a="http://schemas.openxmlformats.org/drawingml/2006/main" name="3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706F6F"/>
      </a:lt2>
      <a:accent1>
        <a:srgbClr val="183E75"/>
      </a:accent1>
      <a:accent2>
        <a:srgbClr val="0069B4"/>
      </a:accent2>
      <a:accent3>
        <a:srgbClr val="009EDF"/>
      </a:accent3>
      <a:accent4>
        <a:srgbClr val="784A99"/>
      </a:accent4>
      <a:accent5>
        <a:srgbClr val="F28F0F"/>
      </a:accent5>
      <a:accent6>
        <a:srgbClr val="F7C425"/>
      </a:accent6>
      <a:hlink>
        <a:srgbClr val="9D9D9C"/>
      </a:hlink>
      <a:folHlink>
        <a:srgbClr val="007CC1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LH_Prf_Ntw_Standard_PPT_10_21_2019" id="{01AB6B6A-6A90-410D-94DB-B99C27016202}" vid="{C103DC47-4E71-4562-9183-B5302E5B455F}"/>
    </a:ext>
  </a:extLst>
</a:theme>
</file>

<file path=ppt/theme/theme5.xml><?xml version="1.0" encoding="utf-8"?>
<a:theme xmlns:a="http://schemas.openxmlformats.org/drawingml/2006/main" name="4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706F6F"/>
      </a:lt2>
      <a:accent1>
        <a:srgbClr val="183E75"/>
      </a:accent1>
      <a:accent2>
        <a:srgbClr val="0069B4"/>
      </a:accent2>
      <a:accent3>
        <a:srgbClr val="009EDF"/>
      </a:accent3>
      <a:accent4>
        <a:srgbClr val="784A99"/>
      </a:accent4>
      <a:accent5>
        <a:srgbClr val="F28F0F"/>
      </a:accent5>
      <a:accent6>
        <a:srgbClr val="F7C425"/>
      </a:accent6>
      <a:hlink>
        <a:srgbClr val="9D9D9C"/>
      </a:hlink>
      <a:folHlink>
        <a:srgbClr val="007CC1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LH_Prf_Ntw_Standard_PPT_10_21_2019" id="{01AB6B6A-6A90-410D-94DB-B99C27016202}" vid="{C103DC47-4E71-4562-9183-B5302E5B455F}"/>
    </a:ext>
  </a:extLst>
</a:theme>
</file>

<file path=ppt/theme/theme6.xml><?xml version="1.0" encoding="utf-8"?>
<a:theme xmlns:a="http://schemas.openxmlformats.org/drawingml/2006/main" name="5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706F6F"/>
      </a:lt2>
      <a:accent1>
        <a:srgbClr val="183E75"/>
      </a:accent1>
      <a:accent2>
        <a:srgbClr val="0069B4"/>
      </a:accent2>
      <a:accent3>
        <a:srgbClr val="009EDF"/>
      </a:accent3>
      <a:accent4>
        <a:srgbClr val="784A99"/>
      </a:accent4>
      <a:accent5>
        <a:srgbClr val="F28F0F"/>
      </a:accent5>
      <a:accent6>
        <a:srgbClr val="F7C425"/>
      </a:accent6>
      <a:hlink>
        <a:srgbClr val="9D9D9C"/>
      </a:hlink>
      <a:folHlink>
        <a:srgbClr val="007CC1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LH_Prf_Ntw_Standard_PPT_10_21_2019" id="{01AB6B6A-6A90-410D-94DB-B99C27016202}" vid="{C103DC47-4E71-4562-9183-B5302E5B455F}"/>
    </a:ext>
  </a:extLst>
</a:theme>
</file>

<file path=ppt/theme/theme7.xml><?xml version="1.0" encoding="utf-8"?>
<a:theme xmlns:a="http://schemas.openxmlformats.org/drawingml/2006/main" name="7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A9A9A9"/>
      </a:lt2>
      <a:accent1>
        <a:srgbClr val="183E75"/>
      </a:accent1>
      <a:accent2>
        <a:srgbClr val="0069B4"/>
      </a:accent2>
      <a:accent3>
        <a:srgbClr val="009EDF"/>
      </a:accent3>
      <a:accent4>
        <a:srgbClr val="784B98"/>
      </a:accent4>
      <a:accent5>
        <a:srgbClr val="F48F0C"/>
      </a:accent5>
      <a:accent6>
        <a:srgbClr val="F6C424"/>
      </a:accent6>
      <a:hlink>
        <a:srgbClr val="183E75"/>
      </a:hlink>
      <a:folHlink>
        <a:srgbClr val="5A5A5A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LH_Standard_Care_PPT" id="{37B8858A-426F-4547-9842-D3E61E3040F5}" vid="{B035EFBA-D1B3-4C8A-8D3D-CB3DD8EC4C5E}"/>
    </a:ext>
  </a:extLst>
</a:theme>
</file>

<file path=ppt/theme/theme8.xml><?xml version="1.0" encoding="utf-8"?>
<a:theme xmlns:a="http://schemas.openxmlformats.org/drawingml/2006/main" name="8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A9A9A9"/>
      </a:lt2>
      <a:accent1>
        <a:srgbClr val="183E75"/>
      </a:accent1>
      <a:accent2>
        <a:srgbClr val="0069B4"/>
      </a:accent2>
      <a:accent3>
        <a:srgbClr val="009EDF"/>
      </a:accent3>
      <a:accent4>
        <a:srgbClr val="784B98"/>
      </a:accent4>
      <a:accent5>
        <a:srgbClr val="F48F0C"/>
      </a:accent5>
      <a:accent6>
        <a:srgbClr val="F6C424"/>
      </a:accent6>
      <a:hlink>
        <a:srgbClr val="183E75"/>
      </a:hlink>
      <a:folHlink>
        <a:srgbClr val="5A5A5A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lf-care Resources_March2020" id="{B74F3293-9A34-460C-A15F-EED2B69898FA}" vid="{5A7AC586-289A-4983-B1D7-3E8CE82CDC85}"/>
    </a:ext>
  </a:extLst>
</a:theme>
</file>

<file path=ppt/theme/theme9.xml><?xml version="1.0" encoding="utf-8"?>
<a:theme xmlns:a="http://schemas.openxmlformats.org/drawingml/2006/main" name="9_Office Theme">
  <a:themeElements>
    <a:clrScheme name="BILH Theme Colours">
      <a:dk1>
        <a:sysClr val="windowText" lastClr="000000"/>
      </a:dk1>
      <a:lt1>
        <a:sysClr val="window" lastClr="FFFFFF"/>
      </a:lt1>
      <a:dk2>
        <a:srgbClr val="183E75"/>
      </a:dk2>
      <a:lt2>
        <a:srgbClr val="A9A9A9"/>
      </a:lt2>
      <a:accent1>
        <a:srgbClr val="183E75"/>
      </a:accent1>
      <a:accent2>
        <a:srgbClr val="0069B4"/>
      </a:accent2>
      <a:accent3>
        <a:srgbClr val="009EDF"/>
      </a:accent3>
      <a:accent4>
        <a:srgbClr val="784B98"/>
      </a:accent4>
      <a:accent5>
        <a:srgbClr val="F48F0C"/>
      </a:accent5>
      <a:accent6>
        <a:srgbClr val="F6C424"/>
      </a:accent6>
      <a:hlink>
        <a:srgbClr val="183E75"/>
      </a:hlink>
      <a:folHlink>
        <a:srgbClr val="5A5A5A"/>
      </a:folHlink>
    </a:clrScheme>
    <a:fontScheme name="BILH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LH_Presentation_Widescreen" id="{65901C7C-7AA9-47D6-9764-4CA697FF0DCB}" vid="{9C292F3D-D933-473B-9AE7-685489C11CC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702</TotalTime>
  <Words>942</Words>
  <Application>Microsoft Office PowerPoint</Application>
  <PresentationFormat>Widescreen</PresentationFormat>
  <Paragraphs>139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Arial</vt:lpstr>
      <vt:lpstr>Calibri</vt:lpstr>
      <vt:lpstr>Symbol</vt:lpstr>
      <vt:lpstr>Wingdings</vt:lpstr>
      <vt:lpstr>1_Office Theme</vt:lpstr>
      <vt:lpstr>Office Theme</vt:lpstr>
      <vt:lpstr>2_Office Theme</vt:lpstr>
      <vt:lpstr>3_Office Theme</vt:lpstr>
      <vt:lpstr>4_Office Theme</vt:lpstr>
      <vt:lpstr>5_Office Theme</vt:lpstr>
      <vt:lpstr>7_Office Theme</vt:lpstr>
      <vt:lpstr>8_Office Theme</vt:lpstr>
      <vt:lpstr>9_Office Theme</vt:lpstr>
      <vt:lpstr>6_Office Theme</vt:lpstr>
      <vt:lpstr>think-cell Slide</vt:lpstr>
      <vt:lpstr>COVID-19: Causes for change and optimism panel presentation:  Healthcare related fallout</vt:lpstr>
      <vt:lpstr>Rapid Response and Preparedness:  Overnight Shift to Virtual Care Delivery</vt:lpstr>
      <vt:lpstr>Rapid Response and Preparedness:  Seismic Shift in Care Delivery Model</vt:lpstr>
      <vt:lpstr>PowerPoint Presentation</vt:lpstr>
      <vt:lpstr>Rapid Response and Preparedness:  Safety Protocol Implementation</vt:lpstr>
      <vt:lpstr>Pandemic Focusing a Lens on Health Disparities</vt:lpstr>
      <vt:lpstr>PowerPoint Presentation</vt:lpstr>
      <vt:lpstr>The Silent Pandemic</vt:lpstr>
      <vt:lpstr>Light at the End of the Tunnel…</vt:lpstr>
      <vt:lpstr>PowerPoint Presentation</vt:lpstr>
    </vt:vector>
  </TitlesOfParts>
  <Company>BIDM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il PFAC Meeting advanced care directives</dc:title>
  <dc:creator>Hersom,Abby  (APG - APG Administration)</dc:creator>
  <cp:lastModifiedBy>Windows User</cp:lastModifiedBy>
  <cp:revision>493</cp:revision>
  <dcterms:created xsi:type="dcterms:W3CDTF">2020-04-27T13:50:08Z</dcterms:created>
  <dcterms:modified xsi:type="dcterms:W3CDTF">2021-04-05T20:05:31Z</dcterms:modified>
</cp:coreProperties>
</file>